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9"/>
  </p:notesMasterIdLst>
  <p:sldIdLst>
    <p:sldId id="284" r:id="rId2"/>
    <p:sldId id="293" r:id="rId3"/>
    <p:sldId id="290" r:id="rId4"/>
    <p:sldId id="288" r:id="rId5"/>
    <p:sldId id="296" r:id="rId6"/>
    <p:sldId id="297" r:id="rId7"/>
    <p:sldId id="286" r:id="rId8"/>
  </p:sldIdLst>
  <p:sldSz cx="12192000" cy="6858000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529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B94"/>
    <a:srgbClr val="0E80A5"/>
    <a:srgbClr val="FD9B02"/>
    <a:srgbClr val="83838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819" autoAdjust="0"/>
    <p:restoredTop sz="93703" autoAdjust="0"/>
  </p:normalViewPr>
  <p:slideViewPr>
    <p:cSldViewPr snapToGrid="0" snapToObjects="1">
      <p:cViewPr varScale="1">
        <p:scale>
          <a:sx n="109" d="100"/>
          <a:sy n="109" d="100"/>
        </p:scale>
        <p:origin x="624" y="78"/>
      </p:cViewPr>
      <p:guideLst>
        <p:guide orient="horz" pos="2160"/>
        <p:guide pos="529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DD86372-1888-47D6-83D1-1CD403560E52}" type="doc">
      <dgm:prSet loTypeId="urn:microsoft.com/office/officeart/2005/8/layout/process4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0F0169E9-9DEA-43B4-937F-E7E4556C651A}">
      <dgm:prSet phldrT="[Текст]" custT="1"/>
      <dgm:spPr>
        <a:solidFill>
          <a:srgbClr val="008B94"/>
        </a:solidFill>
      </dgm:spPr>
      <dgm:t>
        <a:bodyPr/>
        <a:lstStyle/>
        <a:p>
          <a:r>
            <a:rPr lang="ru-RU" sz="2400" b="1" dirty="0"/>
            <a:t>РАННЯЯ ПРОФЕССИОНАЛЬНАЯ ОРИЕНТАЦИЯ</a:t>
          </a:r>
        </a:p>
      </dgm:t>
    </dgm:pt>
    <dgm:pt modelId="{A3F1CB06-2572-4D0B-B318-84A3DFF10FC3}" type="parTrans" cxnId="{25BECD1C-3026-4E95-8FD4-479CC862E789}">
      <dgm:prSet/>
      <dgm:spPr/>
      <dgm:t>
        <a:bodyPr/>
        <a:lstStyle/>
        <a:p>
          <a:endParaRPr lang="ru-RU"/>
        </a:p>
      </dgm:t>
    </dgm:pt>
    <dgm:pt modelId="{9787CF02-5A46-4692-A562-ECA41605C7AE}" type="sibTrans" cxnId="{25BECD1C-3026-4E95-8FD4-479CC862E789}">
      <dgm:prSet/>
      <dgm:spPr/>
      <dgm:t>
        <a:bodyPr/>
        <a:lstStyle/>
        <a:p>
          <a:endParaRPr lang="ru-RU"/>
        </a:p>
      </dgm:t>
    </dgm:pt>
    <dgm:pt modelId="{32D06D24-DDC6-4364-915F-FFF781560EA4}">
      <dgm:prSet phldrT="[Текст]" custT="1"/>
      <dgm:spPr/>
      <dgm:t>
        <a:bodyPr/>
        <a:lstStyle/>
        <a:p>
          <a:r>
            <a:rPr lang="ru-RU" sz="2000" dirty="0"/>
            <a:t>Фестиваль «Город Профессий», занимательные уроки и т.д. для ДОО.</a:t>
          </a:r>
        </a:p>
      </dgm:t>
    </dgm:pt>
    <dgm:pt modelId="{1A7CE359-E666-498B-AD83-45565935EF55}" type="parTrans" cxnId="{F03EA5F4-1271-43FE-88EA-FA25EC532F95}">
      <dgm:prSet/>
      <dgm:spPr/>
      <dgm:t>
        <a:bodyPr/>
        <a:lstStyle/>
        <a:p>
          <a:endParaRPr lang="ru-RU"/>
        </a:p>
      </dgm:t>
    </dgm:pt>
    <dgm:pt modelId="{5DFDA81B-C2BE-40E2-8F07-DABB216A6E9C}" type="sibTrans" cxnId="{F03EA5F4-1271-43FE-88EA-FA25EC532F95}">
      <dgm:prSet/>
      <dgm:spPr/>
      <dgm:t>
        <a:bodyPr/>
        <a:lstStyle/>
        <a:p>
          <a:endParaRPr lang="ru-RU"/>
        </a:p>
      </dgm:t>
    </dgm:pt>
    <dgm:pt modelId="{ADABC3C5-7F13-4920-84FE-B46D9E27D366}">
      <dgm:prSet phldrT="[Текст]" custT="1"/>
      <dgm:spPr>
        <a:solidFill>
          <a:srgbClr val="008B94"/>
        </a:solidFill>
      </dgm:spPr>
      <dgm:t>
        <a:bodyPr/>
        <a:lstStyle/>
        <a:p>
          <a:r>
            <a:rPr lang="ru-RU" sz="2400" b="1" dirty="0"/>
            <a:t>ДОПРОФЕССИОНАЛЬНОЕ САМООПРЕДЕЛЕНИЕ</a:t>
          </a:r>
        </a:p>
      </dgm:t>
    </dgm:pt>
    <dgm:pt modelId="{565F4120-EB06-419C-8E5F-5A134C68DCA7}" type="parTrans" cxnId="{5E9E1628-E7CD-4899-941C-610C3B5F22D6}">
      <dgm:prSet/>
      <dgm:spPr/>
      <dgm:t>
        <a:bodyPr/>
        <a:lstStyle/>
        <a:p>
          <a:endParaRPr lang="ru-RU"/>
        </a:p>
      </dgm:t>
    </dgm:pt>
    <dgm:pt modelId="{0DC2F5F3-A9BE-4035-918D-BE49C344461D}" type="sibTrans" cxnId="{5E9E1628-E7CD-4899-941C-610C3B5F22D6}">
      <dgm:prSet/>
      <dgm:spPr/>
      <dgm:t>
        <a:bodyPr/>
        <a:lstStyle/>
        <a:p>
          <a:endParaRPr lang="ru-RU"/>
        </a:p>
      </dgm:t>
    </dgm:pt>
    <dgm:pt modelId="{FBB9C82D-5E7F-42F4-B22C-023006B77824}">
      <dgm:prSet phldrT="[Текст]" custT="1"/>
      <dgm:spPr/>
      <dgm:t>
        <a:bodyPr/>
        <a:lstStyle/>
        <a:p>
          <a:r>
            <a:rPr lang="ru-RU" sz="1900" dirty="0"/>
            <a:t>Мастер-классы, Профессиональные пробы, вынесенные уроки Технологии, Промышленный Туризм, Научные </a:t>
          </a:r>
          <a:r>
            <a:rPr lang="ru-RU" sz="1900" dirty="0" err="1"/>
            <a:t>Квизы</a:t>
          </a:r>
          <a:r>
            <a:rPr lang="ru-RU" sz="1900" dirty="0"/>
            <a:t> и т.д. для обучающихся средних общеобразовательных организаций  </a:t>
          </a:r>
        </a:p>
      </dgm:t>
    </dgm:pt>
    <dgm:pt modelId="{59001B42-866B-46A3-8DD8-4766059094D8}" type="parTrans" cxnId="{3043360F-B224-4A60-90BA-11B2DE871264}">
      <dgm:prSet/>
      <dgm:spPr/>
      <dgm:t>
        <a:bodyPr/>
        <a:lstStyle/>
        <a:p>
          <a:endParaRPr lang="ru-RU"/>
        </a:p>
      </dgm:t>
    </dgm:pt>
    <dgm:pt modelId="{D23E22DA-ABAD-498C-B998-1B26EB27201D}" type="sibTrans" cxnId="{3043360F-B224-4A60-90BA-11B2DE871264}">
      <dgm:prSet/>
      <dgm:spPr/>
      <dgm:t>
        <a:bodyPr/>
        <a:lstStyle/>
        <a:p>
          <a:endParaRPr lang="ru-RU"/>
        </a:p>
      </dgm:t>
    </dgm:pt>
    <dgm:pt modelId="{ED3C9E16-8131-42CC-8048-B0604D682FBE}">
      <dgm:prSet phldrT="[Текст]" custT="1"/>
      <dgm:spPr>
        <a:solidFill>
          <a:srgbClr val="008B94"/>
        </a:solidFill>
      </dgm:spPr>
      <dgm:t>
        <a:bodyPr/>
        <a:lstStyle/>
        <a:p>
          <a:r>
            <a:rPr lang="ru-RU" sz="2400" b="1" dirty="0"/>
            <a:t>ПРЕДПРОФЕССИОНАЛЬНАЯ ПОДГОТОВКА</a:t>
          </a:r>
        </a:p>
      </dgm:t>
    </dgm:pt>
    <dgm:pt modelId="{7559C22D-676C-422C-B6D7-6C8BADFE9631}" type="parTrans" cxnId="{C41F4F56-A6D2-4E1B-9EFC-FB63E3BC9976}">
      <dgm:prSet/>
      <dgm:spPr/>
      <dgm:t>
        <a:bodyPr/>
        <a:lstStyle/>
        <a:p>
          <a:endParaRPr lang="ru-RU"/>
        </a:p>
      </dgm:t>
    </dgm:pt>
    <dgm:pt modelId="{DEE8E467-D202-42F3-A53B-E342BABF374F}" type="sibTrans" cxnId="{C41F4F56-A6D2-4E1B-9EFC-FB63E3BC9976}">
      <dgm:prSet/>
      <dgm:spPr/>
      <dgm:t>
        <a:bodyPr/>
        <a:lstStyle/>
        <a:p>
          <a:endParaRPr lang="ru-RU"/>
        </a:p>
      </dgm:t>
    </dgm:pt>
    <dgm:pt modelId="{C6948E97-6F00-499C-B1A8-F323F0E2A9A4}">
      <dgm:prSet phldrT="[Текст]" custT="1"/>
      <dgm:spPr/>
      <dgm:t>
        <a:bodyPr/>
        <a:lstStyle/>
        <a:p>
          <a:r>
            <a:rPr lang="ru-RU" sz="2000" dirty="0"/>
            <a:t>Классы СИБУРа, участие в движении </a:t>
          </a:r>
          <a:r>
            <a:rPr lang="en-US" sz="2000" dirty="0"/>
            <a:t>WSR</a:t>
          </a:r>
          <a:r>
            <a:rPr lang="ru-RU" sz="2000" dirty="0"/>
            <a:t>,программы профессионального обучения (получения первой профессии) для обучающихся ОО</a:t>
          </a:r>
        </a:p>
      </dgm:t>
    </dgm:pt>
    <dgm:pt modelId="{99423DF8-ECC6-4B70-9FF3-C473E37C49FC}" type="parTrans" cxnId="{77235C4E-D19C-40B0-8EBA-DBDD3BEC3F3E}">
      <dgm:prSet/>
      <dgm:spPr/>
      <dgm:t>
        <a:bodyPr/>
        <a:lstStyle/>
        <a:p>
          <a:endParaRPr lang="ru-RU"/>
        </a:p>
      </dgm:t>
    </dgm:pt>
    <dgm:pt modelId="{B2757EF1-80A1-4EFE-9DE1-7D926F3D4589}" type="sibTrans" cxnId="{77235C4E-D19C-40B0-8EBA-DBDD3BEC3F3E}">
      <dgm:prSet/>
      <dgm:spPr/>
      <dgm:t>
        <a:bodyPr/>
        <a:lstStyle/>
        <a:p>
          <a:endParaRPr lang="ru-RU"/>
        </a:p>
      </dgm:t>
    </dgm:pt>
    <dgm:pt modelId="{58A46003-8917-47AE-8B0A-57314F6D2EF9}" type="pres">
      <dgm:prSet presAssocID="{3DD86372-1888-47D6-83D1-1CD403560E52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AE07738-ABB7-4FD0-B58A-49E8F05C809F}" type="pres">
      <dgm:prSet presAssocID="{ED3C9E16-8131-42CC-8048-B0604D682FBE}" presName="boxAndChildren" presStyleCnt="0"/>
      <dgm:spPr/>
    </dgm:pt>
    <dgm:pt modelId="{A8172147-EFFF-4E03-8A7A-1EBBB92AACB6}" type="pres">
      <dgm:prSet presAssocID="{ED3C9E16-8131-42CC-8048-B0604D682FBE}" presName="parentTextBox" presStyleLbl="node1" presStyleIdx="0" presStyleCnt="3"/>
      <dgm:spPr/>
      <dgm:t>
        <a:bodyPr/>
        <a:lstStyle/>
        <a:p>
          <a:endParaRPr lang="ru-RU"/>
        </a:p>
      </dgm:t>
    </dgm:pt>
    <dgm:pt modelId="{F3FE64A1-1A90-46D7-A935-13575379F228}" type="pres">
      <dgm:prSet presAssocID="{ED3C9E16-8131-42CC-8048-B0604D682FBE}" presName="entireBox" presStyleLbl="node1" presStyleIdx="0" presStyleCnt="3"/>
      <dgm:spPr/>
      <dgm:t>
        <a:bodyPr/>
        <a:lstStyle/>
        <a:p>
          <a:endParaRPr lang="ru-RU"/>
        </a:p>
      </dgm:t>
    </dgm:pt>
    <dgm:pt modelId="{71DFC8A6-7E1B-4E5C-9AA3-A2F2CE905065}" type="pres">
      <dgm:prSet presAssocID="{ED3C9E16-8131-42CC-8048-B0604D682FBE}" presName="descendantBox" presStyleCnt="0"/>
      <dgm:spPr/>
    </dgm:pt>
    <dgm:pt modelId="{7B2898F6-ADB7-4526-B15C-A2BD1175AE2C}" type="pres">
      <dgm:prSet presAssocID="{C6948E97-6F00-499C-B1A8-F323F0E2A9A4}" presName="childTextBox" presStyleLbl="fg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C7999ED-F8D8-471E-A2B2-A9976AD837BA}" type="pres">
      <dgm:prSet presAssocID="{0DC2F5F3-A9BE-4035-918D-BE49C344461D}" presName="sp" presStyleCnt="0"/>
      <dgm:spPr/>
    </dgm:pt>
    <dgm:pt modelId="{7588DAF9-6C4A-41E9-8BF0-E0B99AABB488}" type="pres">
      <dgm:prSet presAssocID="{ADABC3C5-7F13-4920-84FE-B46D9E27D366}" presName="arrowAndChildren" presStyleCnt="0"/>
      <dgm:spPr/>
    </dgm:pt>
    <dgm:pt modelId="{E0784D3F-6319-4262-9230-F1479175DC03}" type="pres">
      <dgm:prSet presAssocID="{ADABC3C5-7F13-4920-84FE-B46D9E27D366}" presName="parentTextArrow" presStyleLbl="node1" presStyleIdx="0" presStyleCnt="3"/>
      <dgm:spPr/>
      <dgm:t>
        <a:bodyPr/>
        <a:lstStyle/>
        <a:p>
          <a:endParaRPr lang="ru-RU"/>
        </a:p>
      </dgm:t>
    </dgm:pt>
    <dgm:pt modelId="{8088A46E-6B15-4707-BEFE-C5877B28E318}" type="pres">
      <dgm:prSet presAssocID="{ADABC3C5-7F13-4920-84FE-B46D9E27D366}" presName="arrow" presStyleLbl="node1" presStyleIdx="1" presStyleCnt="3"/>
      <dgm:spPr/>
      <dgm:t>
        <a:bodyPr/>
        <a:lstStyle/>
        <a:p>
          <a:endParaRPr lang="ru-RU"/>
        </a:p>
      </dgm:t>
    </dgm:pt>
    <dgm:pt modelId="{1A16A38F-674F-4115-B5D0-F63421A0563F}" type="pres">
      <dgm:prSet presAssocID="{ADABC3C5-7F13-4920-84FE-B46D9E27D366}" presName="descendantArrow" presStyleCnt="0"/>
      <dgm:spPr/>
    </dgm:pt>
    <dgm:pt modelId="{8B48B74B-6B7A-47E0-8A8F-0E3EEADBE675}" type="pres">
      <dgm:prSet presAssocID="{FBB9C82D-5E7F-42F4-B22C-023006B77824}" presName="childTextArrow" presStyleLbl="fg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0B782E3-E301-4BFC-90A3-F4DAD0E61B3E}" type="pres">
      <dgm:prSet presAssocID="{9787CF02-5A46-4692-A562-ECA41605C7AE}" presName="sp" presStyleCnt="0"/>
      <dgm:spPr/>
    </dgm:pt>
    <dgm:pt modelId="{77C8F072-9413-4644-BD57-81281B73952A}" type="pres">
      <dgm:prSet presAssocID="{0F0169E9-9DEA-43B4-937F-E7E4556C651A}" presName="arrowAndChildren" presStyleCnt="0"/>
      <dgm:spPr/>
    </dgm:pt>
    <dgm:pt modelId="{E0A17748-614C-4E13-BD32-1EB237E270B3}" type="pres">
      <dgm:prSet presAssocID="{0F0169E9-9DEA-43B4-937F-E7E4556C651A}" presName="parentTextArrow" presStyleLbl="node1" presStyleIdx="1" presStyleCnt="3"/>
      <dgm:spPr/>
      <dgm:t>
        <a:bodyPr/>
        <a:lstStyle/>
        <a:p>
          <a:endParaRPr lang="ru-RU"/>
        </a:p>
      </dgm:t>
    </dgm:pt>
    <dgm:pt modelId="{D8C74851-81D1-4941-A5B8-4551D0D4A925}" type="pres">
      <dgm:prSet presAssocID="{0F0169E9-9DEA-43B4-937F-E7E4556C651A}" presName="arrow" presStyleLbl="node1" presStyleIdx="2" presStyleCnt="3"/>
      <dgm:spPr/>
      <dgm:t>
        <a:bodyPr/>
        <a:lstStyle/>
        <a:p>
          <a:endParaRPr lang="ru-RU"/>
        </a:p>
      </dgm:t>
    </dgm:pt>
    <dgm:pt modelId="{D4C81190-595B-4BAD-BFCE-22535AF9C6CB}" type="pres">
      <dgm:prSet presAssocID="{0F0169E9-9DEA-43B4-937F-E7E4556C651A}" presName="descendantArrow" presStyleCnt="0"/>
      <dgm:spPr/>
    </dgm:pt>
    <dgm:pt modelId="{5A9C14F0-4E33-49AD-A5EE-DFA005A452A9}" type="pres">
      <dgm:prSet presAssocID="{32D06D24-DDC6-4364-915F-FFF781560EA4}" presName="childTextArrow" presStyleLbl="fg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98A40CF2-61FC-4084-A6E2-CF3A2DCAF44E}" type="presOf" srcId="{32D06D24-DDC6-4364-915F-FFF781560EA4}" destId="{5A9C14F0-4E33-49AD-A5EE-DFA005A452A9}" srcOrd="0" destOrd="0" presId="urn:microsoft.com/office/officeart/2005/8/layout/process4"/>
    <dgm:cxn modelId="{5E9E1628-E7CD-4899-941C-610C3B5F22D6}" srcId="{3DD86372-1888-47D6-83D1-1CD403560E52}" destId="{ADABC3C5-7F13-4920-84FE-B46D9E27D366}" srcOrd="1" destOrd="0" parTransId="{565F4120-EB06-419C-8E5F-5A134C68DCA7}" sibTransId="{0DC2F5F3-A9BE-4035-918D-BE49C344461D}"/>
    <dgm:cxn modelId="{F03EA5F4-1271-43FE-88EA-FA25EC532F95}" srcId="{0F0169E9-9DEA-43B4-937F-E7E4556C651A}" destId="{32D06D24-DDC6-4364-915F-FFF781560EA4}" srcOrd="0" destOrd="0" parTransId="{1A7CE359-E666-498B-AD83-45565935EF55}" sibTransId="{5DFDA81B-C2BE-40E2-8F07-DABB216A6E9C}"/>
    <dgm:cxn modelId="{3043360F-B224-4A60-90BA-11B2DE871264}" srcId="{ADABC3C5-7F13-4920-84FE-B46D9E27D366}" destId="{FBB9C82D-5E7F-42F4-B22C-023006B77824}" srcOrd="0" destOrd="0" parTransId="{59001B42-866B-46A3-8DD8-4766059094D8}" sibTransId="{D23E22DA-ABAD-498C-B998-1B26EB27201D}"/>
    <dgm:cxn modelId="{1FA934C7-91FA-4F04-9DC9-5DE3F5887701}" type="presOf" srcId="{3DD86372-1888-47D6-83D1-1CD403560E52}" destId="{58A46003-8917-47AE-8B0A-57314F6D2EF9}" srcOrd="0" destOrd="0" presId="urn:microsoft.com/office/officeart/2005/8/layout/process4"/>
    <dgm:cxn modelId="{982535F0-B49A-43BC-8045-C9FC59BD5327}" type="presOf" srcId="{ED3C9E16-8131-42CC-8048-B0604D682FBE}" destId="{F3FE64A1-1A90-46D7-A935-13575379F228}" srcOrd="1" destOrd="0" presId="urn:microsoft.com/office/officeart/2005/8/layout/process4"/>
    <dgm:cxn modelId="{7B8F5D36-36E5-49F9-9463-046F4D0BCEE0}" type="presOf" srcId="{0F0169E9-9DEA-43B4-937F-E7E4556C651A}" destId="{D8C74851-81D1-4941-A5B8-4551D0D4A925}" srcOrd="1" destOrd="0" presId="urn:microsoft.com/office/officeart/2005/8/layout/process4"/>
    <dgm:cxn modelId="{A9FCEF18-F9DC-4829-BBEA-E2AE8BF80CB1}" type="presOf" srcId="{C6948E97-6F00-499C-B1A8-F323F0E2A9A4}" destId="{7B2898F6-ADB7-4526-B15C-A2BD1175AE2C}" srcOrd="0" destOrd="0" presId="urn:microsoft.com/office/officeart/2005/8/layout/process4"/>
    <dgm:cxn modelId="{5090C52F-95E6-40F9-9956-F75A1C1C5E9E}" type="presOf" srcId="{FBB9C82D-5E7F-42F4-B22C-023006B77824}" destId="{8B48B74B-6B7A-47E0-8A8F-0E3EEADBE675}" srcOrd="0" destOrd="0" presId="urn:microsoft.com/office/officeart/2005/8/layout/process4"/>
    <dgm:cxn modelId="{09C819F9-787B-4062-B738-FB34A88081E7}" type="presOf" srcId="{ADABC3C5-7F13-4920-84FE-B46D9E27D366}" destId="{8088A46E-6B15-4707-BEFE-C5877B28E318}" srcOrd="1" destOrd="0" presId="urn:microsoft.com/office/officeart/2005/8/layout/process4"/>
    <dgm:cxn modelId="{C329C205-7A77-45ED-AB90-F82753D8D21F}" type="presOf" srcId="{ADABC3C5-7F13-4920-84FE-B46D9E27D366}" destId="{E0784D3F-6319-4262-9230-F1479175DC03}" srcOrd="0" destOrd="0" presId="urn:microsoft.com/office/officeart/2005/8/layout/process4"/>
    <dgm:cxn modelId="{2CC0D6FE-5080-4829-A117-EB83EE345149}" type="presOf" srcId="{0F0169E9-9DEA-43B4-937F-E7E4556C651A}" destId="{E0A17748-614C-4E13-BD32-1EB237E270B3}" srcOrd="0" destOrd="0" presId="urn:microsoft.com/office/officeart/2005/8/layout/process4"/>
    <dgm:cxn modelId="{77235C4E-D19C-40B0-8EBA-DBDD3BEC3F3E}" srcId="{ED3C9E16-8131-42CC-8048-B0604D682FBE}" destId="{C6948E97-6F00-499C-B1A8-F323F0E2A9A4}" srcOrd="0" destOrd="0" parTransId="{99423DF8-ECC6-4B70-9FF3-C473E37C49FC}" sibTransId="{B2757EF1-80A1-4EFE-9DE1-7D926F3D4589}"/>
    <dgm:cxn modelId="{C41F4F56-A6D2-4E1B-9EFC-FB63E3BC9976}" srcId="{3DD86372-1888-47D6-83D1-1CD403560E52}" destId="{ED3C9E16-8131-42CC-8048-B0604D682FBE}" srcOrd="2" destOrd="0" parTransId="{7559C22D-676C-422C-B6D7-6C8BADFE9631}" sibTransId="{DEE8E467-D202-42F3-A53B-E342BABF374F}"/>
    <dgm:cxn modelId="{C724EF6F-F874-4FDC-A7F8-AF7E270B22B9}" type="presOf" srcId="{ED3C9E16-8131-42CC-8048-B0604D682FBE}" destId="{A8172147-EFFF-4E03-8A7A-1EBBB92AACB6}" srcOrd="0" destOrd="0" presId="urn:microsoft.com/office/officeart/2005/8/layout/process4"/>
    <dgm:cxn modelId="{25BECD1C-3026-4E95-8FD4-479CC862E789}" srcId="{3DD86372-1888-47D6-83D1-1CD403560E52}" destId="{0F0169E9-9DEA-43B4-937F-E7E4556C651A}" srcOrd="0" destOrd="0" parTransId="{A3F1CB06-2572-4D0B-B318-84A3DFF10FC3}" sibTransId="{9787CF02-5A46-4692-A562-ECA41605C7AE}"/>
    <dgm:cxn modelId="{891F22A0-C8F8-44C1-8CDF-E53374948AE8}" type="presParOf" srcId="{58A46003-8917-47AE-8B0A-57314F6D2EF9}" destId="{6AE07738-ABB7-4FD0-B58A-49E8F05C809F}" srcOrd="0" destOrd="0" presId="urn:microsoft.com/office/officeart/2005/8/layout/process4"/>
    <dgm:cxn modelId="{B2DE0266-3537-426E-A1B2-A6332328424C}" type="presParOf" srcId="{6AE07738-ABB7-4FD0-B58A-49E8F05C809F}" destId="{A8172147-EFFF-4E03-8A7A-1EBBB92AACB6}" srcOrd="0" destOrd="0" presId="urn:microsoft.com/office/officeart/2005/8/layout/process4"/>
    <dgm:cxn modelId="{01EDBDD0-2C53-45CF-8857-978C5A7F1C4B}" type="presParOf" srcId="{6AE07738-ABB7-4FD0-B58A-49E8F05C809F}" destId="{F3FE64A1-1A90-46D7-A935-13575379F228}" srcOrd="1" destOrd="0" presId="urn:microsoft.com/office/officeart/2005/8/layout/process4"/>
    <dgm:cxn modelId="{4FEEE4EE-FA6A-4AF9-B7CF-5EF790440E99}" type="presParOf" srcId="{6AE07738-ABB7-4FD0-B58A-49E8F05C809F}" destId="{71DFC8A6-7E1B-4E5C-9AA3-A2F2CE905065}" srcOrd="2" destOrd="0" presId="urn:microsoft.com/office/officeart/2005/8/layout/process4"/>
    <dgm:cxn modelId="{97226EA9-0CE3-4C26-9813-FA09CECD7D72}" type="presParOf" srcId="{71DFC8A6-7E1B-4E5C-9AA3-A2F2CE905065}" destId="{7B2898F6-ADB7-4526-B15C-A2BD1175AE2C}" srcOrd="0" destOrd="0" presId="urn:microsoft.com/office/officeart/2005/8/layout/process4"/>
    <dgm:cxn modelId="{BD7957B7-A37A-48B1-B26F-315D9C18ECF8}" type="presParOf" srcId="{58A46003-8917-47AE-8B0A-57314F6D2EF9}" destId="{0C7999ED-F8D8-471E-A2B2-A9976AD837BA}" srcOrd="1" destOrd="0" presId="urn:microsoft.com/office/officeart/2005/8/layout/process4"/>
    <dgm:cxn modelId="{300E92AE-057A-45EB-B094-2A96BCE5F9DD}" type="presParOf" srcId="{58A46003-8917-47AE-8B0A-57314F6D2EF9}" destId="{7588DAF9-6C4A-41E9-8BF0-E0B99AABB488}" srcOrd="2" destOrd="0" presId="urn:microsoft.com/office/officeart/2005/8/layout/process4"/>
    <dgm:cxn modelId="{D8192482-C739-4F6D-A948-6929D2F15C1C}" type="presParOf" srcId="{7588DAF9-6C4A-41E9-8BF0-E0B99AABB488}" destId="{E0784D3F-6319-4262-9230-F1479175DC03}" srcOrd="0" destOrd="0" presId="urn:microsoft.com/office/officeart/2005/8/layout/process4"/>
    <dgm:cxn modelId="{BB9AAA34-56D0-47E8-9F74-AAB97C067A5B}" type="presParOf" srcId="{7588DAF9-6C4A-41E9-8BF0-E0B99AABB488}" destId="{8088A46E-6B15-4707-BEFE-C5877B28E318}" srcOrd="1" destOrd="0" presId="urn:microsoft.com/office/officeart/2005/8/layout/process4"/>
    <dgm:cxn modelId="{DEE434F3-43EE-4BAA-90A7-17A9A38ADDCD}" type="presParOf" srcId="{7588DAF9-6C4A-41E9-8BF0-E0B99AABB488}" destId="{1A16A38F-674F-4115-B5D0-F63421A0563F}" srcOrd="2" destOrd="0" presId="urn:microsoft.com/office/officeart/2005/8/layout/process4"/>
    <dgm:cxn modelId="{ECBF86F0-FEB7-4C8F-9E48-80898B727AD0}" type="presParOf" srcId="{1A16A38F-674F-4115-B5D0-F63421A0563F}" destId="{8B48B74B-6B7A-47E0-8A8F-0E3EEADBE675}" srcOrd="0" destOrd="0" presId="urn:microsoft.com/office/officeart/2005/8/layout/process4"/>
    <dgm:cxn modelId="{869A3F7F-D4FC-43B2-8558-93E7C8856770}" type="presParOf" srcId="{58A46003-8917-47AE-8B0A-57314F6D2EF9}" destId="{A0B782E3-E301-4BFC-90A3-F4DAD0E61B3E}" srcOrd="3" destOrd="0" presId="urn:microsoft.com/office/officeart/2005/8/layout/process4"/>
    <dgm:cxn modelId="{302EB443-60E9-4E4F-97B1-C39ECCFA8BBB}" type="presParOf" srcId="{58A46003-8917-47AE-8B0A-57314F6D2EF9}" destId="{77C8F072-9413-4644-BD57-81281B73952A}" srcOrd="4" destOrd="0" presId="urn:microsoft.com/office/officeart/2005/8/layout/process4"/>
    <dgm:cxn modelId="{E578463B-5DCF-4B57-985E-73749BFADEE7}" type="presParOf" srcId="{77C8F072-9413-4644-BD57-81281B73952A}" destId="{E0A17748-614C-4E13-BD32-1EB237E270B3}" srcOrd="0" destOrd="0" presId="urn:microsoft.com/office/officeart/2005/8/layout/process4"/>
    <dgm:cxn modelId="{C0F1B257-5640-48BC-9A09-0FF281C2964F}" type="presParOf" srcId="{77C8F072-9413-4644-BD57-81281B73952A}" destId="{D8C74851-81D1-4941-A5B8-4551D0D4A925}" srcOrd="1" destOrd="0" presId="urn:microsoft.com/office/officeart/2005/8/layout/process4"/>
    <dgm:cxn modelId="{BB4FD7BD-11F7-443C-B67F-C708FEA90F9B}" type="presParOf" srcId="{77C8F072-9413-4644-BD57-81281B73952A}" destId="{D4C81190-595B-4BAD-BFCE-22535AF9C6CB}" srcOrd="2" destOrd="0" presId="urn:microsoft.com/office/officeart/2005/8/layout/process4"/>
    <dgm:cxn modelId="{86D21C1A-A0FF-44E8-9272-A3CA9349E00C}" type="presParOf" srcId="{D4C81190-595B-4BAD-BFCE-22535AF9C6CB}" destId="{5A9C14F0-4E33-49AD-A5EE-DFA005A452A9}" srcOrd="0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9AABF5A-4FFF-594A-9586-7E5A591947F7}" type="datetimeFigureOut">
              <a:rPr lang="ru-RU" smtClean="0"/>
              <a:pPr/>
              <a:t>14.10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F12A25-F0C6-B14D-A0DA-7F3EDFD2573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958698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F12A25-F0C6-B14D-A0DA-7F3EDFD2573C}" type="slidenum">
              <a:rPr lang="ru-RU" smtClean="0"/>
              <a:pPr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604050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F12A25-F0C6-B14D-A0DA-7F3EDFD2573C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820015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F12A25-F0C6-B14D-A0DA-7F3EDFD2573C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293887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F12A25-F0C6-B14D-A0DA-7F3EDFD2573C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634172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F12A25-F0C6-B14D-A0DA-7F3EDFD2573C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091860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23BD5A-FCDA-7549-A8C4-A2D15419C228}" type="datetimeFigureOut">
              <a:rPr lang="ru-RU" smtClean="0"/>
              <a:pPr/>
              <a:t>14.10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5E3102-DA5B-8E45-9F3C-D06E72F200D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82261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.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23BD5A-FCDA-7549-A8C4-A2D15419C228}" type="datetimeFigureOut">
              <a:rPr lang="ru-RU" smtClean="0"/>
              <a:pPr/>
              <a:t>14.10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5E3102-DA5B-8E45-9F3C-D06E72F200D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078121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. загол.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en-US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23BD5A-FCDA-7549-A8C4-A2D15419C228}" type="datetimeFigureOut">
              <a:rPr lang="ru-RU" smtClean="0"/>
              <a:pPr/>
              <a:t>14.10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5E3102-DA5B-8E45-9F3C-D06E72F200D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982372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23BD5A-FCDA-7549-A8C4-A2D15419C228}" type="datetimeFigureOut">
              <a:rPr lang="ru-RU" smtClean="0"/>
              <a:pPr/>
              <a:t>14.10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5E3102-DA5B-8E45-9F3C-D06E72F200D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5576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23BD5A-FCDA-7549-A8C4-A2D15419C228}" type="datetimeFigureOut">
              <a:rPr lang="ru-RU" smtClean="0"/>
              <a:pPr/>
              <a:t>14.10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5E3102-DA5B-8E45-9F3C-D06E72F200D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640213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23BD5A-FCDA-7549-A8C4-A2D15419C228}" type="datetimeFigureOut">
              <a:rPr lang="ru-RU" smtClean="0"/>
              <a:pPr/>
              <a:t>14.10.2021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5E3102-DA5B-8E45-9F3C-D06E72F200D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51872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en-US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23BD5A-FCDA-7549-A8C4-A2D15419C228}" type="datetimeFigureOut">
              <a:rPr lang="ru-RU" smtClean="0"/>
              <a:pPr/>
              <a:t>14.10.2021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5E3102-DA5B-8E45-9F3C-D06E72F200D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417147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23BD5A-FCDA-7549-A8C4-A2D15419C228}" type="datetimeFigureOut">
              <a:rPr lang="ru-RU" smtClean="0"/>
              <a:pPr/>
              <a:t>14.10.2021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5E3102-DA5B-8E45-9F3C-D06E72F200D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367599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23BD5A-FCDA-7549-A8C4-A2D15419C228}" type="datetimeFigureOut">
              <a:rPr lang="ru-RU" smtClean="0"/>
              <a:pPr/>
              <a:t>14.10.2021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5E3102-DA5B-8E45-9F3C-D06E72F200D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133994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23BD5A-FCDA-7549-A8C4-A2D15419C228}" type="datetimeFigureOut">
              <a:rPr lang="ru-RU" smtClean="0"/>
              <a:pPr/>
              <a:t>14.10.2021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5E3102-DA5B-8E45-9F3C-D06E72F200D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790524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Чтобы добавить рисунок, перетащите его на заполнитель или щелкните значок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23BD5A-FCDA-7549-A8C4-A2D15419C228}" type="datetimeFigureOut">
              <a:rPr lang="ru-RU" smtClean="0"/>
              <a:pPr/>
              <a:t>14.10.2021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5E3102-DA5B-8E45-9F3C-D06E72F200D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97790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723BD5A-FCDA-7549-A8C4-A2D15419C228}" type="datetimeFigureOut">
              <a:rPr lang="ru-RU" smtClean="0"/>
              <a:pPr/>
              <a:t>14.10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D5E3102-DA5B-8E45-9F3C-D06E72F200D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98338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jpeg"/><Relationship Id="rId4" Type="http://schemas.openxmlformats.org/officeDocument/2006/relationships/image" Target="../media/image2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jpe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Layout" Target="../slideLayouts/slideLayout1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6" Type="http://schemas.openxmlformats.org/officeDocument/2006/relationships/image" Target="../media/image8.jpe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image" Target="../media/image9.png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.jpe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image" Target="../media/image9.png"/><Relationship Id="rId7" Type="http://schemas.openxmlformats.org/officeDocument/2006/relationships/diagramQuickStyle" Target="../diagrams/quickStyle1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openxmlformats.org/officeDocument/2006/relationships/image" Target="../media/image8.jpeg"/><Relationship Id="rId9" Type="http://schemas.microsoft.com/office/2007/relationships/diagramDrawing" Target="../diagrams/drawing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gif"/><Relationship Id="rId3" Type="http://schemas.openxmlformats.org/officeDocument/2006/relationships/image" Target="../media/image1.png"/><Relationship Id="rId7" Type="http://schemas.openxmlformats.org/officeDocument/2006/relationships/image" Target="../media/image12.gif"/><Relationship Id="rId12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gif"/><Relationship Id="rId11" Type="http://schemas.openxmlformats.org/officeDocument/2006/relationships/image" Target="../media/image16.jpeg"/><Relationship Id="rId5" Type="http://schemas.openxmlformats.org/officeDocument/2006/relationships/image" Target="../media/image10.gif"/><Relationship Id="rId10" Type="http://schemas.openxmlformats.org/officeDocument/2006/relationships/image" Target="../media/image15.png"/><Relationship Id="rId4" Type="http://schemas.openxmlformats.org/officeDocument/2006/relationships/image" Target="../media/image2.jpeg"/><Relationship Id="rId9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D:\Дизайн ТМТ\Темно-синяя Коворкинг Простая Презентация-02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310281" cy="6923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4033" y="5220929"/>
            <a:ext cx="3207509" cy="112296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454965" y="1456769"/>
            <a:ext cx="632004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 smtClean="0">
                <a:solidFill>
                  <a:schemeClr val="bg1"/>
                </a:solidFill>
                <a:latin typeface="Market Fresh Bold" pitchFamily="34" charset="0"/>
              </a:rPr>
              <a:t>ТЕРРИТОРИЯ ПРОФЕССИОНАЛЬНОГО ОБОГАЩЕНИЯ</a:t>
            </a:r>
            <a:endParaRPr lang="ru-RU" sz="3200" b="1" u="sng" dirty="0">
              <a:solidFill>
                <a:schemeClr val="bg1"/>
              </a:solidFill>
              <a:latin typeface="Market Fresh Bold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013938" y="3666342"/>
            <a:ext cx="61106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dirty="0">
                <a:solidFill>
                  <a:srgbClr val="0E80A5"/>
                </a:solidFill>
                <a:latin typeface="Trebuchet MS" panose="020B0603020202020204" pitchFamily="34" charset="0"/>
              </a:rPr>
              <a:t> ГАПОУ ТО «Тобольский многопрофильный техникум»</a:t>
            </a:r>
          </a:p>
          <a:p>
            <a:endParaRPr lang="ru-RU" b="1" dirty="0">
              <a:solidFill>
                <a:srgbClr val="0E80A5"/>
              </a:solidFill>
              <a:latin typeface="Trebuchet MS" panose="020B060302020202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003087" y="6343889"/>
            <a:ext cx="6019799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endParaRPr lang="ru-RU" sz="1400" dirty="0">
              <a:latin typeface="Trebuchet MS" panose="020B0603020202020204" pitchFamily="34" charset="0"/>
            </a:endParaRPr>
          </a:p>
          <a:p>
            <a:pPr algn="ctr"/>
            <a:r>
              <a:rPr lang="ru-RU" sz="1400">
                <a:solidFill>
                  <a:srgbClr val="0E80A5"/>
                </a:solidFill>
                <a:latin typeface="Trebuchet MS" panose="020B0603020202020204" pitchFamily="34" charset="0"/>
              </a:rPr>
              <a:t>Тобольск, </a:t>
            </a:r>
            <a:r>
              <a:rPr lang="ru-RU" sz="1400" dirty="0">
                <a:solidFill>
                  <a:srgbClr val="0E80A5"/>
                </a:solidFill>
                <a:latin typeface="Trebuchet MS" panose="020B0603020202020204" pitchFamily="34" charset="0"/>
              </a:rPr>
              <a:t>2021</a:t>
            </a:r>
          </a:p>
          <a:p>
            <a:endParaRPr lang="ru-RU" b="1" dirty="0">
              <a:latin typeface="Trebuchet MS" panose="020B0603020202020204" pitchFamily="34" charset="0"/>
            </a:endParaRP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xmlns="" id="{8D728402-29B4-6742-BB44-A61134F46B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0490" y="4763570"/>
            <a:ext cx="1633481" cy="1698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971879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45320" y="95249"/>
            <a:ext cx="1019985" cy="699091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542953" y="353190"/>
            <a:ext cx="106650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E80A5"/>
                </a:solidFill>
                <a:latin typeface="Trebuchet MS" panose="020B0603020202020204" pitchFamily="34" charset="0"/>
              </a:rPr>
              <a:t>ТОБОЛЬСКИЙ МНОГОПРОФИЛЬНЫЙ ТЕХНИКУМ: </a:t>
            </a:r>
          </a:p>
          <a:p>
            <a:r>
              <a:rPr lang="ru-RU" b="1" dirty="0">
                <a:solidFill>
                  <a:srgbClr val="0E80A5"/>
                </a:solidFill>
                <a:latin typeface="Trebuchet MS" panose="020B0603020202020204" pitchFamily="34" charset="0"/>
              </a:rPr>
              <a:t>ДОСТОЙНОЕ ОБРАЗОВАНИЕ – УСПЕШНОЕ БУДУЩЕЕ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67231" y="1196756"/>
            <a:ext cx="1425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3600" b="1" dirty="0">
                <a:solidFill>
                  <a:srgbClr val="FD9B02"/>
                </a:solidFill>
                <a:latin typeface="Trebuchet MS" panose="020B0603020202020204" pitchFamily="34" charset="0"/>
              </a:rPr>
              <a:t>1700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668473" y="1258311"/>
            <a:ext cx="136824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rgbClr val="0E80A5"/>
                </a:solidFill>
                <a:latin typeface="Trebuchet MS" panose="020B0603020202020204" pitchFamily="34" charset="0"/>
              </a:rPr>
              <a:t>контингент </a:t>
            </a:r>
          </a:p>
          <a:p>
            <a:r>
              <a:rPr lang="ru-RU" sz="1400" dirty="0">
                <a:solidFill>
                  <a:srgbClr val="0E80A5"/>
                </a:solidFill>
                <a:latin typeface="Trebuchet MS" panose="020B0603020202020204" pitchFamily="34" charset="0"/>
              </a:rPr>
              <a:t>обучающихся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349645" y="1187449"/>
            <a:ext cx="1425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b="1" dirty="0">
                <a:solidFill>
                  <a:srgbClr val="FD9B02"/>
                </a:solidFill>
                <a:latin typeface="Trebuchet MS" panose="020B0603020202020204" pitchFamily="34" charset="0"/>
              </a:rPr>
              <a:t>56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030351" y="1236183"/>
            <a:ext cx="192069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rgbClr val="0E80A5"/>
                </a:solidFill>
                <a:latin typeface="Trebuchet MS" panose="020B0603020202020204" pitchFamily="34" charset="0"/>
              </a:rPr>
              <a:t>направлений подготовки 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632450" y="1159677"/>
            <a:ext cx="1425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b="1">
                <a:solidFill>
                  <a:srgbClr val="FD9B02"/>
                </a:solidFill>
                <a:latin typeface="Trebuchet MS" panose="020B0603020202020204" pitchFamily="34" charset="0"/>
              </a:rPr>
              <a:t>126</a:t>
            </a:r>
            <a:endParaRPr lang="ru-RU" sz="3600" b="1" dirty="0">
              <a:solidFill>
                <a:srgbClr val="FD9B02"/>
              </a:solidFill>
              <a:latin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8910942" y="1125649"/>
            <a:ext cx="1425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b="1" dirty="0">
                <a:solidFill>
                  <a:srgbClr val="FD9B02"/>
                </a:solidFill>
                <a:latin typeface="Trebuchet MS" panose="020B0603020202020204" pitchFamily="34" charset="0"/>
              </a:rPr>
              <a:t>16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32289" y="2819836"/>
            <a:ext cx="2340438" cy="1813752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16631" y="4786990"/>
            <a:ext cx="2340437" cy="1750730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93" t="8086" b="-4480"/>
          <a:stretch/>
        </p:blipFill>
        <p:spPr>
          <a:xfrm flipH="1">
            <a:off x="6112136" y="2826817"/>
            <a:ext cx="2618977" cy="3920347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6595217" y="1233112"/>
            <a:ext cx="250318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rgbClr val="0E80A5"/>
                </a:solidFill>
                <a:latin typeface="Trebuchet MS" panose="020B0603020202020204" pitchFamily="34" charset="0"/>
              </a:rPr>
              <a:t>квалифицированных педагогов  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-528050" y="1957821"/>
            <a:ext cx="1425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3600" b="1" dirty="0">
                <a:solidFill>
                  <a:srgbClr val="FD9B02"/>
                </a:solidFill>
                <a:latin typeface="Trebuchet MS" panose="020B0603020202020204" pitchFamily="34" charset="0"/>
              </a:rPr>
              <a:t>4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920814" y="2019376"/>
            <a:ext cx="23349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rgbClr val="0E80A5"/>
                </a:solidFill>
                <a:latin typeface="Trebuchet MS" panose="020B0603020202020204" pitchFamily="34" charset="0"/>
              </a:rPr>
              <a:t>отделения в </a:t>
            </a:r>
            <a:r>
              <a:rPr lang="ru-RU" sz="1400" b="1" dirty="0">
                <a:solidFill>
                  <a:srgbClr val="FD9B02"/>
                </a:solidFill>
                <a:latin typeface="Trebuchet MS" panose="020B0603020202020204" pitchFamily="34" charset="0"/>
              </a:rPr>
              <a:t>2-ух</a:t>
            </a:r>
          </a:p>
          <a:p>
            <a:r>
              <a:rPr lang="ru-RU" sz="1400" dirty="0">
                <a:solidFill>
                  <a:srgbClr val="0E80A5"/>
                </a:solidFill>
                <a:latin typeface="Trebuchet MS" panose="020B0603020202020204" pitchFamily="34" charset="0"/>
              </a:rPr>
              <a:t>муниципалитетах 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2405051" y="1955223"/>
            <a:ext cx="1425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3600" b="1" dirty="0">
                <a:solidFill>
                  <a:srgbClr val="FD9B02"/>
                </a:solidFill>
                <a:latin typeface="Trebuchet MS" panose="020B0603020202020204" pitchFamily="34" charset="0"/>
              </a:rPr>
              <a:t>4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3806290" y="2016778"/>
            <a:ext cx="23349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rgbClr val="0E80A5"/>
                </a:solidFill>
                <a:latin typeface="Trebuchet MS" panose="020B0603020202020204" pitchFamily="34" charset="0"/>
              </a:rPr>
              <a:t>образовательных </a:t>
            </a:r>
          </a:p>
          <a:p>
            <a:r>
              <a:rPr lang="ru-RU" sz="1400" dirty="0">
                <a:solidFill>
                  <a:srgbClr val="0E80A5"/>
                </a:solidFill>
                <a:latin typeface="Trebuchet MS" panose="020B0603020202020204" pitchFamily="34" charset="0"/>
              </a:rPr>
              <a:t>корпуса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4686736" y="1943754"/>
            <a:ext cx="1425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3600" b="1" dirty="0">
                <a:solidFill>
                  <a:srgbClr val="FD9B02"/>
                </a:solidFill>
                <a:latin typeface="Trebuchet MS" panose="020B0603020202020204" pitchFamily="34" charset="0"/>
              </a:rPr>
              <a:t>5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6097500" y="2005309"/>
            <a:ext cx="23943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rgbClr val="0E80A5"/>
                </a:solidFill>
                <a:latin typeface="Trebuchet MS" panose="020B0603020202020204" pitchFamily="34" charset="0"/>
              </a:rPr>
              <a:t>современных лабораторий оборудованных по НП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7975251" y="1926419"/>
            <a:ext cx="1425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3600" b="1" dirty="0">
                <a:solidFill>
                  <a:srgbClr val="FD9B02"/>
                </a:solidFill>
                <a:latin typeface="Trebuchet MS" panose="020B0603020202020204" pitchFamily="34" charset="0"/>
              </a:rPr>
              <a:t>8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9357440" y="1987974"/>
            <a:ext cx="23349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rgbClr val="0E80A5"/>
                </a:solidFill>
                <a:latin typeface="Trebuchet MS" panose="020B0603020202020204" pitchFamily="34" charset="0"/>
              </a:rPr>
              <a:t>Компетенций </a:t>
            </a:r>
            <a:r>
              <a:rPr lang="en-US" sz="1400" dirty="0">
                <a:solidFill>
                  <a:srgbClr val="0E80A5"/>
                </a:solidFill>
                <a:latin typeface="Trebuchet MS" panose="020B0603020202020204" pitchFamily="34" charset="0"/>
              </a:rPr>
              <a:t>WSRT</a:t>
            </a:r>
            <a:r>
              <a:rPr lang="ru-RU" sz="1400" dirty="0">
                <a:solidFill>
                  <a:srgbClr val="0E80A5"/>
                </a:solidFill>
                <a:latin typeface="Trebuchet MS" panose="020B0603020202020204" pitchFamily="34" charset="0"/>
              </a:rPr>
              <a:t> абсолютная линейка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0797058" y="6550223"/>
            <a:ext cx="13682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400" dirty="0">
                <a:solidFill>
                  <a:srgbClr val="0E80A5"/>
                </a:solidFill>
                <a:latin typeface="Trebuchet MS" panose="020B0603020202020204" pitchFamily="34" charset="0"/>
              </a:rPr>
              <a:t>2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9602917" y="1189013"/>
            <a:ext cx="18173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rgbClr val="0E80A5"/>
                </a:solidFill>
                <a:latin typeface="Trebuchet MS" panose="020B0603020202020204" pitchFamily="34" charset="0"/>
              </a:rPr>
              <a:t>компетенций </a:t>
            </a:r>
          </a:p>
          <a:p>
            <a:r>
              <a:rPr lang="en-US" sz="1400" dirty="0" err="1">
                <a:solidFill>
                  <a:srgbClr val="0E80A5"/>
                </a:solidFill>
                <a:latin typeface="Trebuchet MS" panose="020B0603020202020204" pitchFamily="34" charset="0"/>
              </a:rPr>
              <a:t>WorldSkills</a:t>
            </a:r>
            <a:r>
              <a:rPr lang="ru-RU" sz="1400" dirty="0">
                <a:solidFill>
                  <a:srgbClr val="0E80A5"/>
                </a:solidFill>
                <a:latin typeface="Trebuchet MS" panose="020B0603020202020204" pitchFamily="34" charset="0"/>
              </a:rPr>
              <a:t> 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1023642" y="3701968"/>
            <a:ext cx="18173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rgbClr val="0E80A5"/>
                </a:solidFill>
                <a:latin typeface="Trebuchet MS" panose="020B0603020202020204" pitchFamily="34" charset="0"/>
              </a:rPr>
              <a:t>инновации и умный результат 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1023642" y="4354806"/>
            <a:ext cx="191734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rgbClr val="0E80A5"/>
                </a:solidFill>
                <a:latin typeface="Trebuchet MS" panose="020B0603020202020204" pitchFamily="34" charset="0"/>
              </a:rPr>
              <a:t>сотрудничество и диалог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1023642" y="5003002"/>
            <a:ext cx="21047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rgbClr val="0E80A5"/>
                </a:solidFill>
                <a:latin typeface="Trebuchet MS" panose="020B0603020202020204" pitchFamily="34" charset="0"/>
              </a:rPr>
              <a:t>инициативность и готовность к развитию</a:t>
            </a:r>
          </a:p>
        </p:txBody>
      </p:sp>
      <p:grpSp>
        <p:nvGrpSpPr>
          <p:cNvPr id="48" name="Gruppieren 48"/>
          <p:cNvGrpSpPr>
            <a:grpSpLocks noChangeAspect="1"/>
          </p:cNvGrpSpPr>
          <p:nvPr/>
        </p:nvGrpSpPr>
        <p:grpSpPr>
          <a:xfrm>
            <a:off x="3491339" y="3781975"/>
            <a:ext cx="363849" cy="363207"/>
            <a:chOff x="1841500" y="1570038"/>
            <a:chExt cx="900113" cy="898525"/>
          </a:xfrm>
          <a:solidFill>
            <a:srgbClr val="0E80A5"/>
          </a:solidFill>
        </p:grpSpPr>
        <p:sp>
          <p:nvSpPr>
            <p:cNvPr id="49" name="Freeform 9"/>
            <p:cNvSpPr>
              <a:spLocks noEditPoints="1"/>
            </p:cNvSpPr>
            <p:nvPr/>
          </p:nvSpPr>
          <p:spPr bwMode="auto">
            <a:xfrm>
              <a:off x="1841500" y="1570038"/>
              <a:ext cx="900113" cy="898525"/>
            </a:xfrm>
            <a:custGeom>
              <a:avLst/>
              <a:gdLst>
                <a:gd name="T0" fmla="*/ 206 w 2835"/>
                <a:gd name="T1" fmla="*/ 1771 h 2830"/>
                <a:gd name="T2" fmla="*/ 100 w 2835"/>
                <a:gd name="T3" fmla="*/ 1534 h 2830"/>
                <a:gd name="T4" fmla="*/ 135 w 2835"/>
                <a:gd name="T5" fmla="*/ 751 h 2830"/>
                <a:gd name="T6" fmla="*/ 316 w 2835"/>
                <a:gd name="T7" fmla="*/ 1311 h 2830"/>
                <a:gd name="T8" fmla="*/ 285 w 2835"/>
                <a:gd name="T9" fmla="*/ 1455 h 2830"/>
                <a:gd name="T10" fmla="*/ 642 w 2835"/>
                <a:gd name="T11" fmla="*/ 1868 h 2830"/>
                <a:gd name="T12" fmla="*/ 329 w 2835"/>
                <a:gd name="T13" fmla="*/ 1452 h 2830"/>
                <a:gd name="T14" fmla="*/ 355 w 2835"/>
                <a:gd name="T15" fmla="*/ 1331 h 2830"/>
                <a:gd name="T16" fmla="*/ 633 w 2835"/>
                <a:gd name="T17" fmla="*/ 1535 h 2830"/>
                <a:gd name="T18" fmla="*/ 845 w 2835"/>
                <a:gd name="T19" fmla="*/ 1663 h 2830"/>
                <a:gd name="T20" fmla="*/ 993 w 2835"/>
                <a:gd name="T21" fmla="*/ 1812 h 2830"/>
                <a:gd name="T22" fmla="*/ 1071 w 2835"/>
                <a:gd name="T23" fmla="*/ 2099 h 2830"/>
                <a:gd name="T24" fmla="*/ 1126 w 2835"/>
                <a:gd name="T25" fmla="*/ 1892 h 2830"/>
                <a:gd name="T26" fmla="*/ 1012 w 2835"/>
                <a:gd name="T27" fmla="*/ 1693 h 2830"/>
                <a:gd name="T28" fmla="*/ 800 w 2835"/>
                <a:gd name="T29" fmla="*/ 1544 h 2830"/>
                <a:gd name="T30" fmla="*/ 407 w 2835"/>
                <a:gd name="T31" fmla="*/ 1197 h 2830"/>
                <a:gd name="T32" fmla="*/ 190 w 2835"/>
                <a:gd name="T33" fmla="*/ 683 h 2830"/>
                <a:gd name="T34" fmla="*/ 64 w 2835"/>
                <a:gd name="T35" fmla="*/ 628 h 2830"/>
                <a:gd name="T36" fmla="*/ 14 w 2835"/>
                <a:gd name="T37" fmla="*/ 1547 h 2830"/>
                <a:gd name="T38" fmla="*/ 134 w 2835"/>
                <a:gd name="T39" fmla="*/ 1819 h 2830"/>
                <a:gd name="T40" fmla="*/ 1247 w 2835"/>
                <a:gd name="T41" fmla="*/ 2829 h 2830"/>
                <a:gd name="T42" fmla="*/ 2813 w 2835"/>
                <a:gd name="T43" fmla="*/ 640 h 2830"/>
                <a:gd name="T44" fmla="*/ 2701 w 2835"/>
                <a:gd name="T45" fmla="*/ 640 h 2830"/>
                <a:gd name="T46" fmla="*/ 2590 w 2835"/>
                <a:gd name="T47" fmla="*/ 757 h 2830"/>
                <a:gd name="T48" fmla="*/ 2164 w 2835"/>
                <a:gd name="T49" fmla="*/ 1449 h 2830"/>
                <a:gd name="T50" fmla="*/ 1895 w 2835"/>
                <a:gd name="T51" fmla="*/ 1625 h 2830"/>
                <a:gd name="T52" fmla="*/ 1744 w 2835"/>
                <a:gd name="T53" fmla="*/ 1809 h 2830"/>
                <a:gd name="T54" fmla="*/ 1678 w 2835"/>
                <a:gd name="T55" fmla="*/ 2099 h 2830"/>
                <a:gd name="T56" fmla="*/ 1807 w 2835"/>
                <a:gd name="T57" fmla="*/ 1882 h 2830"/>
                <a:gd name="T58" fmla="*/ 1920 w 2835"/>
                <a:gd name="T59" fmla="*/ 1717 h 2830"/>
                <a:gd name="T60" fmla="*/ 2128 w 2835"/>
                <a:gd name="T61" fmla="*/ 1603 h 2830"/>
                <a:gd name="T62" fmla="*/ 2448 w 2835"/>
                <a:gd name="T63" fmla="*/ 1308 h 2830"/>
                <a:gd name="T64" fmla="*/ 2504 w 2835"/>
                <a:gd name="T65" fmla="*/ 1393 h 2830"/>
                <a:gd name="T66" fmla="*/ 2483 w 2835"/>
                <a:gd name="T67" fmla="*/ 1530 h 2830"/>
                <a:gd name="T68" fmla="*/ 2536 w 2835"/>
                <a:gd name="T69" fmla="*/ 1522 h 2830"/>
                <a:gd name="T70" fmla="*/ 2536 w 2835"/>
                <a:gd name="T71" fmla="*/ 1345 h 2830"/>
                <a:gd name="T72" fmla="*/ 2676 w 2835"/>
                <a:gd name="T73" fmla="*/ 782 h 2830"/>
                <a:gd name="T74" fmla="*/ 2749 w 2835"/>
                <a:gd name="T75" fmla="*/ 715 h 2830"/>
                <a:gd name="T76" fmla="*/ 2711 w 2835"/>
                <a:gd name="T77" fmla="*/ 1637 h 2830"/>
                <a:gd name="T78" fmla="*/ 2276 w 2835"/>
                <a:gd name="T79" fmla="*/ 2181 h 2830"/>
                <a:gd name="T80" fmla="*/ 2703 w 2835"/>
                <a:gd name="T81" fmla="*/ 1819 h 2830"/>
                <a:gd name="T82" fmla="*/ 2823 w 2835"/>
                <a:gd name="T83" fmla="*/ 1547 h 2830"/>
                <a:gd name="T84" fmla="*/ 1624 w 2835"/>
                <a:gd name="T85" fmla="*/ 2783 h 2830"/>
                <a:gd name="T86" fmla="*/ 1624 w 2835"/>
                <a:gd name="T87" fmla="*/ 2412 h 2830"/>
                <a:gd name="T88" fmla="*/ 1011 w 2835"/>
                <a:gd name="T89" fmla="*/ 1286 h 2830"/>
                <a:gd name="T90" fmla="*/ 1381 w 2835"/>
                <a:gd name="T91" fmla="*/ 1344 h 2830"/>
                <a:gd name="T92" fmla="*/ 1411 w 2835"/>
                <a:gd name="T93" fmla="*/ 1400 h 2830"/>
                <a:gd name="T94" fmla="*/ 1459 w 2835"/>
                <a:gd name="T95" fmla="*/ 1360 h 2830"/>
                <a:gd name="T96" fmla="*/ 1368 w 2835"/>
                <a:gd name="T97" fmla="*/ 278 h 2830"/>
                <a:gd name="T98" fmla="*/ 1875 w 2835"/>
                <a:gd name="T99" fmla="*/ 1529 h 2830"/>
                <a:gd name="T100" fmla="*/ 1983 w 2835"/>
                <a:gd name="T101" fmla="*/ 1426 h 2830"/>
                <a:gd name="T102" fmla="*/ 1970 w 2835"/>
                <a:gd name="T103" fmla="*/ 81 h 2830"/>
                <a:gd name="T104" fmla="*/ 1845 w 2835"/>
                <a:gd name="T105" fmla="*/ 1 h 2830"/>
                <a:gd name="T106" fmla="*/ 907 w 2835"/>
                <a:gd name="T107" fmla="*/ 35 h 2830"/>
                <a:gd name="T108" fmla="*/ 847 w 2835"/>
                <a:gd name="T109" fmla="*/ 1379 h 2830"/>
                <a:gd name="T110" fmla="*/ 907 w 2835"/>
                <a:gd name="T111" fmla="*/ 1500 h 2830"/>
                <a:gd name="T112" fmla="*/ 948 w 2835"/>
                <a:gd name="T113" fmla="*/ 146 h 2830"/>
                <a:gd name="T114" fmla="*/ 1842 w 2835"/>
                <a:gd name="T115" fmla="*/ 101 h 2830"/>
                <a:gd name="T116" fmla="*/ 1889 w 2835"/>
                <a:gd name="T117" fmla="*/ 1390 h 2830"/>
                <a:gd name="T118" fmla="*/ 996 w 2835"/>
                <a:gd name="T119" fmla="*/ 1434 h 2830"/>
                <a:gd name="T120" fmla="*/ 1403 w 2835"/>
                <a:gd name="T121" fmla="*/ 413 h 28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835" h="2830">
                  <a:moveTo>
                    <a:pt x="544" y="2335"/>
                  </a:moveTo>
                  <a:lnTo>
                    <a:pt x="631" y="2335"/>
                  </a:lnTo>
                  <a:lnTo>
                    <a:pt x="631" y="2264"/>
                  </a:lnTo>
                  <a:lnTo>
                    <a:pt x="620" y="2251"/>
                  </a:lnTo>
                  <a:lnTo>
                    <a:pt x="620" y="2251"/>
                  </a:lnTo>
                  <a:lnTo>
                    <a:pt x="559" y="2181"/>
                  </a:lnTo>
                  <a:lnTo>
                    <a:pt x="420" y="2021"/>
                  </a:lnTo>
                  <a:lnTo>
                    <a:pt x="420" y="2021"/>
                  </a:lnTo>
                  <a:lnTo>
                    <a:pt x="266" y="1843"/>
                  </a:lnTo>
                  <a:lnTo>
                    <a:pt x="206" y="1771"/>
                  </a:lnTo>
                  <a:lnTo>
                    <a:pt x="166" y="1723"/>
                  </a:lnTo>
                  <a:lnTo>
                    <a:pt x="166" y="1723"/>
                  </a:lnTo>
                  <a:lnTo>
                    <a:pt x="155" y="1704"/>
                  </a:lnTo>
                  <a:lnTo>
                    <a:pt x="144" y="1683"/>
                  </a:lnTo>
                  <a:lnTo>
                    <a:pt x="134" y="1661"/>
                  </a:lnTo>
                  <a:lnTo>
                    <a:pt x="125" y="1637"/>
                  </a:lnTo>
                  <a:lnTo>
                    <a:pt x="117" y="1611"/>
                  </a:lnTo>
                  <a:lnTo>
                    <a:pt x="110" y="1585"/>
                  </a:lnTo>
                  <a:lnTo>
                    <a:pt x="105" y="1558"/>
                  </a:lnTo>
                  <a:lnTo>
                    <a:pt x="100" y="1534"/>
                  </a:lnTo>
                  <a:lnTo>
                    <a:pt x="100" y="1534"/>
                  </a:lnTo>
                  <a:lnTo>
                    <a:pt x="94" y="1486"/>
                  </a:lnTo>
                  <a:lnTo>
                    <a:pt x="90" y="1449"/>
                  </a:lnTo>
                  <a:lnTo>
                    <a:pt x="87" y="1414"/>
                  </a:lnTo>
                  <a:lnTo>
                    <a:pt x="87" y="715"/>
                  </a:lnTo>
                  <a:lnTo>
                    <a:pt x="87" y="715"/>
                  </a:lnTo>
                  <a:lnTo>
                    <a:pt x="99" y="720"/>
                  </a:lnTo>
                  <a:lnTo>
                    <a:pt x="110" y="727"/>
                  </a:lnTo>
                  <a:lnTo>
                    <a:pt x="124" y="739"/>
                  </a:lnTo>
                  <a:lnTo>
                    <a:pt x="135" y="751"/>
                  </a:lnTo>
                  <a:lnTo>
                    <a:pt x="135" y="751"/>
                  </a:lnTo>
                  <a:lnTo>
                    <a:pt x="149" y="767"/>
                  </a:lnTo>
                  <a:lnTo>
                    <a:pt x="159" y="782"/>
                  </a:lnTo>
                  <a:lnTo>
                    <a:pt x="159" y="782"/>
                  </a:lnTo>
                  <a:lnTo>
                    <a:pt x="166" y="792"/>
                  </a:lnTo>
                  <a:lnTo>
                    <a:pt x="324" y="1299"/>
                  </a:lnTo>
                  <a:lnTo>
                    <a:pt x="324" y="1299"/>
                  </a:lnTo>
                  <a:lnTo>
                    <a:pt x="324" y="1301"/>
                  </a:lnTo>
                  <a:lnTo>
                    <a:pt x="324" y="1301"/>
                  </a:lnTo>
                  <a:lnTo>
                    <a:pt x="316" y="1311"/>
                  </a:lnTo>
                  <a:lnTo>
                    <a:pt x="310" y="1321"/>
                  </a:lnTo>
                  <a:lnTo>
                    <a:pt x="304" y="1333"/>
                  </a:lnTo>
                  <a:lnTo>
                    <a:pt x="299" y="1345"/>
                  </a:lnTo>
                  <a:lnTo>
                    <a:pt x="299" y="1345"/>
                  </a:lnTo>
                  <a:lnTo>
                    <a:pt x="295" y="1363"/>
                  </a:lnTo>
                  <a:lnTo>
                    <a:pt x="290" y="1385"/>
                  </a:lnTo>
                  <a:lnTo>
                    <a:pt x="286" y="1411"/>
                  </a:lnTo>
                  <a:lnTo>
                    <a:pt x="285" y="1440"/>
                  </a:lnTo>
                  <a:lnTo>
                    <a:pt x="285" y="1440"/>
                  </a:lnTo>
                  <a:lnTo>
                    <a:pt x="285" y="1455"/>
                  </a:lnTo>
                  <a:lnTo>
                    <a:pt x="286" y="1471"/>
                  </a:lnTo>
                  <a:lnTo>
                    <a:pt x="290" y="1489"/>
                  </a:lnTo>
                  <a:lnTo>
                    <a:pt x="294" y="1505"/>
                  </a:lnTo>
                  <a:lnTo>
                    <a:pt x="300" y="1522"/>
                  </a:lnTo>
                  <a:lnTo>
                    <a:pt x="307" y="1539"/>
                  </a:lnTo>
                  <a:lnTo>
                    <a:pt x="317" y="1555"/>
                  </a:lnTo>
                  <a:lnTo>
                    <a:pt x="329" y="1570"/>
                  </a:lnTo>
                  <a:lnTo>
                    <a:pt x="329" y="1570"/>
                  </a:lnTo>
                  <a:lnTo>
                    <a:pt x="610" y="1897"/>
                  </a:lnTo>
                  <a:lnTo>
                    <a:pt x="642" y="1868"/>
                  </a:lnTo>
                  <a:lnTo>
                    <a:pt x="642" y="1868"/>
                  </a:lnTo>
                  <a:lnTo>
                    <a:pt x="362" y="1541"/>
                  </a:lnTo>
                  <a:lnTo>
                    <a:pt x="362" y="1541"/>
                  </a:lnTo>
                  <a:lnTo>
                    <a:pt x="354" y="1530"/>
                  </a:lnTo>
                  <a:lnTo>
                    <a:pt x="346" y="1517"/>
                  </a:lnTo>
                  <a:lnTo>
                    <a:pt x="340" y="1505"/>
                  </a:lnTo>
                  <a:lnTo>
                    <a:pt x="335" y="1492"/>
                  </a:lnTo>
                  <a:lnTo>
                    <a:pt x="332" y="1480"/>
                  </a:lnTo>
                  <a:lnTo>
                    <a:pt x="330" y="1466"/>
                  </a:lnTo>
                  <a:lnTo>
                    <a:pt x="329" y="1452"/>
                  </a:lnTo>
                  <a:lnTo>
                    <a:pt x="329" y="1440"/>
                  </a:lnTo>
                  <a:lnTo>
                    <a:pt x="329" y="1440"/>
                  </a:lnTo>
                  <a:lnTo>
                    <a:pt x="330" y="1415"/>
                  </a:lnTo>
                  <a:lnTo>
                    <a:pt x="332" y="1393"/>
                  </a:lnTo>
                  <a:lnTo>
                    <a:pt x="336" y="1373"/>
                  </a:lnTo>
                  <a:lnTo>
                    <a:pt x="341" y="1358"/>
                  </a:lnTo>
                  <a:lnTo>
                    <a:pt x="341" y="1358"/>
                  </a:lnTo>
                  <a:lnTo>
                    <a:pt x="345" y="1348"/>
                  </a:lnTo>
                  <a:lnTo>
                    <a:pt x="350" y="1339"/>
                  </a:lnTo>
                  <a:lnTo>
                    <a:pt x="355" y="1331"/>
                  </a:lnTo>
                  <a:lnTo>
                    <a:pt x="362" y="1324"/>
                  </a:lnTo>
                  <a:lnTo>
                    <a:pt x="371" y="1318"/>
                  </a:lnTo>
                  <a:lnTo>
                    <a:pt x="380" y="1313"/>
                  </a:lnTo>
                  <a:lnTo>
                    <a:pt x="389" y="1308"/>
                  </a:lnTo>
                  <a:lnTo>
                    <a:pt x="399" y="1304"/>
                  </a:lnTo>
                  <a:lnTo>
                    <a:pt x="399" y="1304"/>
                  </a:lnTo>
                  <a:lnTo>
                    <a:pt x="412" y="1299"/>
                  </a:lnTo>
                  <a:lnTo>
                    <a:pt x="412" y="1299"/>
                  </a:lnTo>
                  <a:lnTo>
                    <a:pt x="556" y="1454"/>
                  </a:lnTo>
                  <a:lnTo>
                    <a:pt x="633" y="1535"/>
                  </a:lnTo>
                  <a:lnTo>
                    <a:pt x="690" y="1592"/>
                  </a:lnTo>
                  <a:lnTo>
                    <a:pt x="697" y="1601"/>
                  </a:lnTo>
                  <a:lnTo>
                    <a:pt x="707" y="1603"/>
                  </a:lnTo>
                  <a:lnTo>
                    <a:pt x="707" y="1603"/>
                  </a:lnTo>
                  <a:lnTo>
                    <a:pt x="733" y="1612"/>
                  </a:lnTo>
                  <a:lnTo>
                    <a:pt x="757" y="1621"/>
                  </a:lnTo>
                  <a:lnTo>
                    <a:pt x="781" y="1631"/>
                  </a:lnTo>
                  <a:lnTo>
                    <a:pt x="803" y="1641"/>
                  </a:lnTo>
                  <a:lnTo>
                    <a:pt x="825" y="1652"/>
                  </a:lnTo>
                  <a:lnTo>
                    <a:pt x="845" y="1663"/>
                  </a:lnTo>
                  <a:lnTo>
                    <a:pt x="863" y="1676"/>
                  </a:lnTo>
                  <a:lnTo>
                    <a:pt x="882" y="1690"/>
                  </a:lnTo>
                  <a:lnTo>
                    <a:pt x="898" y="1703"/>
                  </a:lnTo>
                  <a:lnTo>
                    <a:pt x="915" y="1717"/>
                  </a:lnTo>
                  <a:lnTo>
                    <a:pt x="930" y="1732"/>
                  </a:lnTo>
                  <a:lnTo>
                    <a:pt x="945" y="1747"/>
                  </a:lnTo>
                  <a:lnTo>
                    <a:pt x="958" y="1763"/>
                  </a:lnTo>
                  <a:lnTo>
                    <a:pt x="971" y="1778"/>
                  </a:lnTo>
                  <a:lnTo>
                    <a:pt x="982" y="1796"/>
                  </a:lnTo>
                  <a:lnTo>
                    <a:pt x="993" y="1812"/>
                  </a:lnTo>
                  <a:lnTo>
                    <a:pt x="1003" y="1829"/>
                  </a:lnTo>
                  <a:lnTo>
                    <a:pt x="1012" y="1845"/>
                  </a:lnTo>
                  <a:lnTo>
                    <a:pt x="1021" y="1863"/>
                  </a:lnTo>
                  <a:lnTo>
                    <a:pt x="1028" y="1882"/>
                  </a:lnTo>
                  <a:lnTo>
                    <a:pt x="1042" y="1918"/>
                  </a:lnTo>
                  <a:lnTo>
                    <a:pt x="1053" y="1954"/>
                  </a:lnTo>
                  <a:lnTo>
                    <a:pt x="1061" y="1990"/>
                  </a:lnTo>
                  <a:lnTo>
                    <a:pt x="1067" y="2026"/>
                  </a:lnTo>
                  <a:lnTo>
                    <a:pt x="1070" y="2064"/>
                  </a:lnTo>
                  <a:lnTo>
                    <a:pt x="1071" y="2099"/>
                  </a:lnTo>
                  <a:lnTo>
                    <a:pt x="1071" y="2335"/>
                  </a:lnTo>
                  <a:lnTo>
                    <a:pt x="1158" y="2335"/>
                  </a:lnTo>
                  <a:lnTo>
                    <a:pt x="1158" y="2099"/>
                  </a:lnTo>
                  <a:lnTo>
                    <a:pt x="1158" y="2099"/>
                  </a:lnTo>
                  <a:lnTo>
                    <a:pt x="1157" y="2059"/>
                  </a:lnTo>
                  <a:lnTo>
                    <a:pt x="1153" y="2018"/>
                  </a:lnTo>
                  <a:lnTo>
                    <a:pt x="1147" y="1977"/>
                  </a:lnTo>
                  <a:lnTo>
                    <a:pt x="1138" y="1934"/>
                  </a:lnTo>
                  <a:lnTo>
                    <a:pt x="1132" y="1913"/>
                  </a:lnTo>
                  <a:lnTo>
                    <a:pt x="1126" y="1892"/>
                  </a:lnTo>
                  <a:lnTo>
                    <a:pt x="1118" y="1872"/>
                  </a:lnTo>
                  <a:lnTo>
                    <a:pt x="1110" y="1850"/>
                  </a:lnTo>
                  <a:lnTo>
                    <a:pt x="1101" y="1829"/>
                  </a:lnTo>
                  <a:lnTo>
                    <a:pt x="1091" y="1809"/>
                  </a:lnTo>
                  <a:lnTo>
                    <a:pt x="1081" y="1789"/>
                  </a:lnTo>
                  <a:lnTo>
                    <a:pt x="1068" y="1769"/>
                  </a:lnTo>
                  <a:lnTo>
                    <a:pt x="1056" y="1749"/>
                  </a:lnTo>
                  <a:lnTo>
                    <a:pt x="1042" y="1731"/>
                  </a:lnTo>
                  <a:lnTo>
                    <a:pt x="1028" y="1711"/>
                  </a:lnTo>
                  <a:lnTo>
                    <a:pt x="1012" y="1693"/>
                  </a:lnTo>
                  <a:lnTo>
                    <a:pt x="996" y="1675"/>
                  </a:lnTo>
                  <a:lnTo>
                    <a:pt x="978" y="1658"/>
                  </a:lnTo>
                  <a:lnTo>
                    <a:pt x="960" y="1641"/>
                  </a:lnTo>
                  <a:lnTo>
                    <a:pt x="940" y="1625"/>
                  </a:lnTo>
                  <a:lnTo>
                    <a:pt x="920" y="1610"/>
                  </a:lnTo>
                  <a:lnTo>
                    <a:pt x="897" y="1595"/>
                  </a:lnTo>
                  <a:lnTo>
                    <a:pt x="875" y="1581"/>
                  </a:lnTo>
                  <a:lnTo>
                    <a:pt x="851" y="1567"/>
                  </a:lnTo>
                  <a:lnTo>
                    <a:pt x="826" y="1555"/>
                  </a:lnTo>
                  <a:lnTo>
                    <a:pt x="800" y="1544"/>
                  </a:lnTo>
                  <a:lnTo>
                    <a:pt x="772" y="1534"/>
                  </a:lnTo>
                  <a:lnTo>
                    <a:pt x="743" y="1524"/>
                  </a:lnTo>
                  <a:lnTo>
                    <a:pt x="743" y="1524"/>
                  </a:lnTo>
                  <a:lnTo>
                    <a:pt x="671" y="1449"/>
                  </a:lnTo>
                  <a:lnTo>
                    <a:pt x="578" y="1350"/>
                  </a:lnTo>
                  <a:lnTo>
                    <a:pt x="495" y="1259"/>
                  </a:lnTo>
                  <a:lnTo>
                    <a:pt x="446" y="1209"/>
                  </a:lnTo>
                  <a:lnTo>
                    <a:pt x="430" y="1193"/>
                  </a:lnTo>
                  <a:lnTo>
                    <a:pt x="407" y="1197"/>
                  </a:lnTo>
                  <a:lnTo>
                    <a:pt x="407" y="1197"/>
                  </a:lnTo>
                  <a:lnTo>
                    <a:pt x="396" y="1199"/>
                  </a:lnTo>
                  <a:lnTo>
                    <a:pt x="384" y="1202"/>
                  </a:lnTo>
                  <a:lnTo>
                    <a:pt x="246" y="757"/>
                  </a:lnTo>
                  <a:lnTo>
                    <a:pt x="244" y="754"/>
                  </a:lnTo>
                  <a:lnTo>
                    <a:pt x="244" y="754"/>
                  </a:lnTo>
                  <a:lnTo>
                    <a:pt x="231" y="735"/>
                  </a:lnTo>
                  <a:lnTo>
                    <a:pt x="219" y="715"/>
                  </a:lnTo>
                  <a:lnTo>
                    <a:pt x="200" y="694"/>
                  </a:lnTo>
                  <a:lnTo>
                    <a:pt x="200" y="694"/>
                  </a:lnTo>
                  <a:lnTo>
                    <a:pt x="190" y="683"/>
                  </a:lnTo>
                  <a:lnTo>
                    <a:pt x="177" y="671"/>
                  </a:lnTo>
                  <a:lnTo>
                    <a:pt x="165" y="660"/>
                  </a:lnTo>
                  <a:lnTo>
                    <a:pt x="151" y="650"/>
                  </a:lnTo>
                  <a:lnTo>
                    <a:pt x="135" y="640"/>
                  </a:lnTo>
                  <a:lnTo>
                    <a:pt x="117" y="634"/>
                  </a:lnTo>
                  <a:lnTo>
                    <a:pt x="99" y="629"/>
                  </a:lnTo>
                  <a:lnTo>
                    <a:pt x="89" y="628"/>
                  </a:lnTo>
                  <a:lnTo>
                    <a:pt x="77" y="626"/>
                  </a:lnTo>
                  <a:lnTo>
                    <a:pt x="77" y="626"/>
                  </a:lnTo>
                  <a:lnTo>
                    <a:pt x="64" y="628"/>
                  </a:lnTo>
                  <a:lnTo>
                    <a:pt x="50" y="630"/>
                  </a:lnTo>
                  <a:lnTo>
                    <a:pt x="36" y="634"/>
                  </a:lnTo>
                  <a:lnTo>
                    <a:pt x="24" y="640"/>
                  </a:lnTo>
                  <a:lnTo>
                    <a:pt x="0" y="653"/>
                  </a:lnTo>
                  <a:lnTo>
                    <a:pt x="0" y="679"/>
                  </a:lnTo>
                  <a:lnTo>
                    <a:pt x="0" y="1415"/>
                  </a:lnTo>
                  <a:lnTo>
                    <a:pt x="0" y="1415"/>
                  </a:lnTo>
                  <a:lnTo>
                    <a:pt x="2" y="1455"/>
                  </a:lnTo>
                  <a:lnTo>
                    <a:pt x="6" y="1496"/>
                  </a:lnTo>
                  <a:lnTo>
                    <a:pt x="14" y="1547"/>
                  </a:lnTo>
                  <a:lnTo>
                    <a:pt x="19" y="1576"/>
                  </a:lnTo>
                  <a:lnTo>
                    <a:pt x="25" y="1605"/>
                  </a:lnTo>
                  <a:lnTo>
                    <a:pt x="32" y="1635"/>
                  </a:lnTo>
                  <a:lnTo>
                    <a:pt x="42" y="1665"/>
                  </a:lnTo>
                  <a:lnTo>
                    <a:pt x="54" y="1693"/>
                  </a:lnTo>
                  <a:lnTo>
                    <a:pt x="66" y="1722"/>
                  </a:lnTo>
                  <a:lnTo>
                    <a:pt x="80" y="1749"/>
                  </a:lnTo>
                  <a:lnTo>
                    <a:pt x="97" y="1774"/>
                  </a:lnTo>
                  <a:lnTo>
                    <a:pt x="97" y="1774"/>
                  </a:lnTo>
                  <a:lnTo>
                    <a:pt x="134" y="1819"/>
                  </a:lnTo>
                  <a:lnTo>
                    <a:pt x="186" y="1884"/>
                  </a:lnTo>
                  <a:lnTo>
                    <a:pt x="322" y="2043"/>
                  </a:lnTo>
                  <a:lnTo>
                    <a:pt x="457" y="2197"/>
                  </a:lnTo>
                  <a:lnTo>
                    <a:pt x="544" y="2296"/>
                  </a:lnTo>
                  <a:lnTo>
                    <a:pt x="544" y="2335"/>
                  </a:lnTo>
                  <a:close/>
                  <a:moveTo>
                    <a:pt x="245" y="2412"/>
                  </a:moveTo>
                  <a:lnTo>
                    <a:pt x="245" y="2726"/>
                  </a:lnTo>
                  <a:lnTo>
                    <a:pt x="1234" y="2830"/>
                  </a:lnTo>
                  <a:lnTo>
                    <a:pt x="1234" y="2830"/>
                  </a:lnTo>
                  <a:lnTo>
                    <a:pt x="1247" y="2829"/>
                  </a:lnTo>
                  <a:lnTo>
                    <a:pt x="1258" y="2825"/>
                  </a:lnTo>
                  <a:lnTo>
                    <a:pt x="1268" y="2820"/>
                  </a:lnTo>
                  <a:lnTo>
                    <a:pt x="1277" y="2813"/>
                  </a:lnTo>
                  <a:lnTo>
                    <a:pt x="1283" y="2804"/>
                  </a:lnTo>
                  <a:lnTo>
                    <a:pt x="1289" y="2794"/>
                  </a:lnTo>
                  <a:lnTo>
                    <a:pt x="1292" y="2783"/>
                  </a:lnTo>
                  <a:lnTo>
                    <a:pt x="1293" y="2771"/>
                  </a:lnTo>
                  <a:lnTo>
                    <a:pt x="1293" y="2412"/>
                  </a:lnTo>
                  <a:lnTo>
                    <a:pt x="245" y="2412"/>
                  </a:lnTo>
                  <a:close/>
                  <a:moveTo>
                    <a:pt x="2813" y="640"/>
                  </a:moveTo>
                  <a:lnTo>
                    <a:pt x="2813" y="640"/>
                  </a:lnTo>
                  <a:lnTo>
                    <a:pt x="2799" y="634"/>
                  </a:lnTo>
                  <a:lnTo>
                    <a:pt x="2785" y="630"/>
                  </a:lnTo>
                  <a:lnTo>
                    <a:pt x="2771" y="628"/>
                  </a:lnTo>
                  <a:lnTo>
                    <a:pt x="2759" y="626"/>
                  </a:lnTo>
                  <a:lnTo>
                    <a:pt x="2759" y="626"/>
                  </a:lnTo>
                  <a:lnTo>
                    <a:pt x="2748" y="628"/>
                  </a:lnTo>
                  <a:lnTo>
                    <a:pt x="2738" y="629"/>
                  </a:lnTo>
                  <a:lnTo>
                    <a:pt x="2719" y="634"/>
                  </a:lnTo>
                  <a:lnTo>
                    <a:pt x="2701" y="640"/>
                  </a:lnTo>
                  <a:lnTo>
                    <a:pt x="2685" y="650"/>
                  </a:lnTo>
                  <a:lnTo>
                    <a:pt x="2671" y="660"/>
                  </a:lnTo>
                  <a:lnTo>
                    <a:pt x="2658" y="671"/>
                  </a:lnTo>
                  <a:lnTo>
                    <a:pt x="2646" y="683"/>
                  </a:lnTo>
                  <a:lnTo>
                    <a:pt x="2635" y="694"/>
                  </a:lnTo>
                  <a:lnTo>
                    <a:pt x="2635" y="694"/>
                  </a:lnTo>
                  <a:lnTo>
                    <a:pt x="2618" y="716"/>
                  </a:lnTo>
                  <a:lnTo>
                    <a:pt x="2604" y="735"/>
                  </a:lnTo>
                  <a:lnTo>
                    <a:pt x="2593" y="754"/>
                  </a:lnTo>
                  <a:lnTo>
                    <a:pt x="2590" y="757"/>
                  </a:lnTo>
                  <a:lnTo>
                    <a:pt x="2451" y="1202"/>
                  </a:lnTo>
                  <a:lnTo>
                    <a:pt x="2451" y="1202"/>
                  </a:lnTo>
                  <a:lnTo>
                    <a:pt x="2440" y="1199"/>
                  </a:lnTo>
                  <a:lnTo>
                    <a:pt x="2428" y="1197"/>
                  </a:lnTo>
                  <a:lnTo>
                    <a:pt x="2406" y="1193"/>
                  </a:lnTo>
                  <a:lnTo>
                    <a:pt x="2390" y="1209"/>
                  </a:lnTo>
                  <a:lnTo>
                    <a:pt x="2390" y="1209"/>
                  </a:lnTo>
                  <a:lnTo>
                    <a:pt x="2341" y="1260"/>
                  </a:lnTo>
                  <a:lnTo>
                    <a:pt x="2257" y="1350"/>
                  </a:lnTo>
                  <a:lnTo>
                    <a:pt x="2164" y="1449"/>
                  </a:lnTo>
                  <a:lnTo>
                    <a:pt x="2093" y="1524"/>
                  </a:lnTo>
                  <a:lnTo>
                    <a:pt x="2093" y="1524"/>
                  </a:lnTo>
                  <a:lnTo>
                    <a:pt x="2064" y="1534"/>
                  </a:lnTo>
                  <a:lnTo>
                    <a:pt x="2037" y="1544"/>
                  </a:lnTo>
                  <a:lnTo>
                    <a:pt x="2010" y="1555"/>
                  </a:lnTo>
                  <a:lnTo>
                    <a:pt x="1985" y="1567"/>
                  </a:lnTo>
                  <a:lnTo>
                    <a:pt x="1962" y="1581"/>
                  </a:lnTo>
                  <a:lnTo>
                    <a:pt x="1938" y="1595"/>
                  </a:lnTo>
                  <a:lnTo>
                    <a:pt x="1917" y="1610"/>
                  </a:lnTo>
                  <a:lnTo>
                    <a:pt x="1895" y="1625"/>
                  </a:lnTo>
                  <a:lnTo>
                    <a:pt x="1877" y="1641"/>
                  </a:lnTo>
                  <a:lnTo>
                    <a:pt x="1858" y="1658"/>
                  </a:lnTo>
                  <a:lnTo>
                    <a:pt x="1840" y="1675"/>
                  </a:lnTo>
                  <a:lnTo>
                    <a:pt x="1823" y="1693"/>
                  </a:lnTo>
                  <a:lnTo>
                    <a:pt x="1808" y="1711"/>
                  </a:lnTo>
                  <a:lnTo>
                    <a:pt x="1793" y="1731"/>
                  </a:lnTo>
                  <a:lnTo>
                    <a:pt x="1780" y="1749"/>
                  </a:lnTo>
                  <a:lnTo>
                    <a:pt x="1767" y="1769"/>
                  </a:lnTo>
                  <a:lnTo>
                    <a:pt x="1755" y="1789"/>
                  </a:lnTo>
                  <a:lnTo>
                    <a:pt x="1744" y="1809"/>
                  </a:lnTo>
                  <a:lnTo>
                    <a:pt x="1734" y="1829"/>
                  </a:lnTo>
                  <a:lnTo>
                    <a:pt x="1725" y="1850"/>
                  </a:lnTo>
                  <a:lnTo>
                    <a:pt x="1718" y="1872"/>
                  </a:lnTo>
                  <a:lnTo>
                    <a:pt x="1710" y="1892"/>
                  </a:lnTo>
                  <a:lnTo>
                    <a:pt x="1703" y="1913"/>
                  </a:lnTo>
                  <a:lnTo>
                    <a:pt x="1698" y="1934"/>
                  </a:lnTo>
                  <a:lnTo>
                    <a:pt x="1688" y="1977"/>
                  </a:lnTo>
                  <a:lnTo>
                    <a:pt x="1682" y="2018"/>
                  </a:lnTo>
                  <a:lnTo>
                    <a:pt x="1678" y="2059"/>
                  </a:lnTo>
                  <a:lnTo>
                    <a:pt x="1678" y="2099"/>
                  </a:lnTo>
                  <a:lnTo>
                    <a:pt x="1678" y="2335"/>
                  </a:lnTo>
                  <a:lnTo>
                    <a:pt x="1764" y="2335"/>
                  </a:lnTo>
                  <a:lnTo>
                    <a:pt x="1764" y="2099"/>
                  </a:lnTo>
                  <a:lnTo>
                    <a:pt x="1764" y="2099"/>
                  </a:lnTo>
                  <a:lnTo>
                    <a:pt x="1765" y="2064"/>
                  </a:lnTo>
                  <a:lnTo>
                    <a:pt x="1769" y="2026"/>
                  </a:lnTo>
                  <a:lnTo>
                    <a:pt x="1775" y="1990"/>
                  </a:lnTo>
                  <a:lnTo>
                    <a:pt x="1783" y="1954"/>
                  </a:lnTo>
                  <a:lnTo>
                    <a:pt x="1794" y="1917"/>
                  </a:lnTo>
                  <a:lnTo>
                    <a:pt x="1807" y="1882"/>
                  </a:lnTo>
                  <a:lnTo>
                    <a:pt x="1814" y="1863"/>
                  </a:lnTo>
                  <a:lnTo>
                    <a:pt x="1823" y="1845"/>
                  </a:lnTo>
                  <a:lnTo>
                    <a:pt x="1833" y="1829"/>
                  </a:lnTo>
                  <a:lnTo>
                    <a:pt x="1843" y="1812"/>
                  </a:lnTo>
                  <a:lnTo>
                    <a:pt x="1854" y="1796"/>
                  </a:lnTo>
                  <a:lnTo>
                    <a:pt x="1865" y="1778"/>
                  </a:lnTo>
                  <a:lnTo>
                    <a:pt x="1878" y="1763"/>
                  </a:lnTo>
                  <a:lnTo>
                    <a:pt x="1892" y="1747"/>
                  </a:lnTo>
                  <a:lnTo>
                    <a:pt x="1905" y="1732"/>
                  </a:lnTo>
                  <a:lnTo>
                    <a:pt x="1920" y="1717"/>
                  </a:lnTo>
                  <a:lnTo>
                    <a:pt x="1937" y="1703"/>
                  </a:lnTo>
                  <a:lnTo>
                    <a:pt x="1954" y="1690"/>
                  </a:lnTo>
                  <a:lnTo>
                    <a:pt x="1973" y="1676"/>
                  </a:lnTo>
                  <a:lnTo>
                    <a:pt x="1992" y="1663"/>
                  </a:lnTo>
                  <a:lnTo>
                    <a:pt x="2012" y="1652"/>
                  </a:lnTo>
                  <a:lnTo>
                    <a:pt x="2033" y="1641"/>
                  </a:lnTo>
                  <a:lnTo>
                    <a:pt x="2055" y="1631"/>
                  </a:lnTo>
                  <a:lnTo>
                    <a:pt x="2078" y="1621"/>
                  </a:lnTo>
                  <a:lnTo>
                    <a:pt x="2103" y="1612"/>
                  </a:lnTo>
                  <a:lnTo>
                    <a:pt x="2128" y="1603"/>
                  </a:lnTo>
                  <a:lnTo>
                    <a:pt x="2139" y="1601"/>
                  </a:lnTo>
                  <a:lnTo>
                    <a:pt x="2147" y="1592"/>
                  </a:lnTo>
                  <a:lnTo>
                    <a:pt x="2147" y="1592"/>
                  </a:lnTo>
                  <a:lnTo>
                    <a:pt x="2203" y="1535"/>
                  </a:lnTo>
                  <a:lnTo>
                    <a:pt x="2279" y="1454"/>
                  </a:lnTo>
                  <a:lnTo>
                    <a:pt x="2424" y="1299"/>
                  </a:lnTo>
                  <a:lnTo>
                    <a:pt x="2424" y="1299"/>
                  </a:lnTo>
                  <a:lnTo>
                    <a:pt x="2438" y="1304"/>
                  </a:lnTo>
                  <a:lnTo>
                    <a:pt x="2438" y="1304"/>
                  </a:lnTo>
                  <a:lnTo>
                    <a:pt x="2448" y="1308"/>
                  </a:lnTo>
                  <a:lnTo>
                    <a:pt x="2456" y="1313"/>
                  </a:lnTo>
                  <a:lnTo>
                    <a:pt x="2465" y="1318"/>
                  </a:lnTo>
                  <a:lnTo>
                    <a:pt x="2474" y="1324"/>
                  </a:lnTo>
                  <a:lnTo>
                    <a:pt x="2480" y="1331"/>
                  </a:lnTo>
                  <a:lnTo>
                    <a:pt x="2486" y="1339"/>
                  </a:lnTo>
                  <a:lnTo>
                    <a:pt x="2491" y="1348"/>
                  </a:lnTo>
                  <a:lnTo>
                    <a:pt x="2495" y="1358"/>
                  </a:lnTo>
                  <a:lnTo>
                    <a:pt x="2495" y="1358"/>
                  </a:lnTo>
                  <a:lnTo>
                    <a:pt x="2499" y="1373"/>
                  </a:lnTo>
                  <a:lnTo>
                    <a:pt x="2504" y="1393"/>
                  </a:lnTo>
                  <a:lnTo>
                    <a:pt x="2506" y="1415"/>
                  </a:lnTo>
                  <a:lnTo>
                    <a:pt x="2508" y="1439"/>
                  </a:lnTo>
                  <a:lnTo>
                    <a:pt x="2508" y="1439"/>
                  </a:lnTo>
                  <a:lnTo>
                    <a:pt x="2508" y="1452"/>
                  </a:lnTo>
                  <a:lnTo>
                    <a:pt x="2506" y="1466"/>
                  </a:lnTo>
                  <a:lnTo>
                    <a:pt x="2504" y="1480"/>
                  </a:lnTo>
                  <a:lnTo>
                    <a:pt x="2500" y="1492"/>
                  </a:lnTo>
                  <a:lnTo>
                    <a:pt x="2496" y="1505"/>
                  </a:lnTo>
                  <a:lnTo>
                    <a:pt x="2490" y="1517"/>
                  </a:lnTo>
                  <a:lnTo>
                    <a:pt x="2483" y="1530"/>
                  </a:lnTo>
                  <a:lnTo>
                    <a:pt x="2474" y="1541"/>
                  </a:lnTo>
                  <a:lnTo>
                    <a:pt x="2474" y="1541"/>
                  </a:lnTo>
                  <a:lnTo>
                    <a:pt x="2194" y="1868"/>
                  </a:lnTo>
                  <a:lnTo>
                    <a:pt x="2227" y="1897"/>
                  </a:lnTo>
                  <a:lnTo>
                    <a:pt x="2227" y="1897"/>
                  </a:lnTo>
                  <a:lnTo>
                    <a:pt x="2506" y="1570"/>
                  </a:lnTo>
                  <a:lnTo>
                    <a:pt x="2506" y="1570"/>
                  </a:lnTo>
                  <a:lnTo>
                    <a:pt x="2519" y="1555"/>
                  </a:lnTo>
                  <a:lnTo>
                    <a:pt x="2529" y="1539"/>
                  </a:lnTo>
                  <a:lnTo>
                    <a:pt x="2536" y="1522"/>
                  </a:lnTo>
                  <a:lnTo>
                    <a:pt x="2541" y="1505"/>
                  </a:lnTo>
                  <a:lnTo>
                    <a:pt x="2546" y="1489"/>
                  </a:lnTo>
                  <a:lnTo>
                    <a:pt x="2549" y="1471"/>
                  </a:lnTo>
                  <a:lnTo>
                    <a:pt x="2550" y="1455"/>
                  </a:lnTo>
                  <a:lnTo>
                    <a:pt x="2551" y="1439"/>
                  </a:lnTo>
                  <a:lnTo>
                    <a:pt x="2551" y="1439"/>
                  </a:lnTo>
                  <a:lnTo>
                    <a:pt x="2550" y="1411"/>
                  </a:lnTo>
                  <a:lnTo>
                    <a:pt x="2546" y="1385"/>
                  </a:lnTo>
                  <a:lnTo>
                    <a:pt x="2541" y="1363"/>
                  </a:lnTo>
                  <a:lnTo>
                    <a:pt x="2536" y="1345"/>
                  </a:lnTo>
                  <a:lnTo>
                    <a:pt x="2536" y="1345"/>
                  </a:lnTo>
                  <a:lnTo>
                    <a:pt x="2531" y="1333"/>
                  </a:lnTo>
                  <a:lnTo>
                    <a:pt x="2526" y="1321"/>
                  </a:lnTo>
                  <a:lnTo>
                    <a:pt x="2519" y="1311"/>
                  </a:lnTo>
                  <a:lnTo>
                    <a:pt x="2511" y="1301"/>
                  </a:lnTo>
                  <a:lnTo>
                    <a:pt x="2511" y="1301"/>
                  </a:lnTo>
                  <a:lnTo>
                    <a:pt x="2513" y="1299"/>
                  </a:lnTo>
                  <a:lnTo>
                    <a:pt x="2670" y="792"/>
                  </a:lnTo>
                  <a:lnTo>
                    <a:pt x="2670" y="792"/>
                  </a:lnTo>
                  <a:lnTo>
                    <a:pt x="2676" y="782"/>
                  </a:lnTo>
                  <a:lnTo>
                    <a:pt x="2676" y="782"/>
                  </a:lnTo>
                  <a:lnTo>
                    <a:pt x="2684" y="772"/>
                  </a:lnTo>
                  <a:lnTo>
                    <a:pt x="2694" y="760"/>
                  </a:lnTo>
                  <a:lnTo>
                    <a:pt x="2705" y="747"/>
                  </a:lnTo>
                  <a:lnTo>
                    <a:pt x="2716" y="735"/>
                  </a:lnTo>
                  <a:lnTo>
                    <a:pt x="2716" y="735"/>
                  </a:lnTo>
                  <a:lnTo>
                    <a:pt x="2725" y="727"/>
                  </a:lnTo>
                  <a:lnTo>
                    <a:pt x="2734" y="722"/>
                  </a:lnTo>
                  <a:lnTo>
                    <a:pt x="2741" y="717"/>
                  </a:lnTo>
                  <a:lnTo>
                    <a:pt x="2749" y="715"/>
                  </a:lnTo>
                  <a:lnTo>
                    <a:pt x="2749" y="1415"/>
                  </a:lnTo>
                  <a:lnTo>
                    <a:pt x="2749" y="1415"/>
                  </a:lnTo>
                  <a:lnTo>
                    <a:pt x="2746" y="1449"/>
                  </a:lnTo>
                  <a:lnTo>
                    <a:pt x="2743" y="1486"/>
                  </a:lnTo>
                  <a:lnTo>
                    <a:pt x="2736" y="1534"/>
                  </a:lnTo>
                  <a:lnTo>
                    <a:pt x="2736" y="1534"/>
                  </a:lnTo>
                  <a:lnTo>
                    <a:pt x="2731" y="1558"/>
                  </a:lnTo>
                  <a:lnTo>
                    <a:pt x="2726" y="1585"/>
                  </a:lnTo>
                  <a:lnTo>
                    <a:pt x="2719" y="1611"/>
                  </a:lnTo>
                  <a:lnTo>
                    <a:pt x="2711" y="1637"/>
                  </a:lnTo>
                  <a:lnTo>
                    <a:pt x="2703" y="1661"/>
                  </a:lnTo>
                  <a:lnTo>
                    <a:pt x="2693" y="1685"/>
                  </a:lnTo>
                  <a:lnTo>
                    <a:pt x="2681" y="1704"/>
                  </a:lnTo>
                  <a:lnTo>
                    <a:pt x="2669" y="1723"/>
                  </a:lnTo>
                  <a:lnTo>
                    <a:pt x="2669" y="1723"/>
                  </a:lnTo>
                  <a:lnTo>
                    <a:pt x="2630" y="1771"/>
                  </a:lnTo>
                  <a:lnTo>
                    <a:pt x="2570" y="1843"/>
                  </a:lnTo>
                  <a:lnTo>
                    <a:pt x="2416" y="2021"/>
                  </a:lnTo>
                  <a:lnTo>
                    <a:pt x="2416" y="2021"/>
                  </a:lnTo>
                  <a:lnTo>
                    <a:pt x="2276" y="2181"/>
                  </a:lnTo>
                  <a:lnTo>
                    <a:pt x="2215" y="2251"/>
                  </a:lnTo>
                  <a:lnTo>
                    <a:pt x="2205" y="2264"/>
                  </a:lnTo>
                  <a:lnTo>
                    <a:pt x="2205" y="2335"/>
                  </a:lnTo>
                  <a:lnTo>
                    <a:pt x="2291" y="2335"/>
                  </a:lnTo>
                  <a:lnTo>
                    <a:pt x="2291" y="2296"/>
                  </a:lnTo>
                  <a:lnTo>
                    <a:pt x="2291" y="2296"/>
                  </a:lnTo>
                  <a:lnTo>
                    <a:pt x="2379" y="2197"/>
                  </a:lnTo>
                  <a:lnTo>
                    <a:pt x="2514" y="2043"/>
                  </a:lnTo>
                  <a:lnTo>
                    <a:pt x="2649" y="1884"/>
                  </a:lnTo>
                  <a:lnTo>
                    <a:pt x="2703" y="1819"/>
                  </a:lnTo>
                  <a:lnTo>
                    <a:pt x="2739" y="1774"/>
                  </a:lnTo>
                  <a:lnTo>
                    <a:pt x="2739" y="1774"/>
                  </a:lnTo>
                  <a:lnTo>
                    <a:pt x="2755" y="1749"/>
                  </a:lnTo>
                  <a:lnTo>
                    <a:pt x="2770" y="1722"/>
                  </a:lnTo>
                  <a:lnTo>
                    <a:pt x="2783" y="1693"/>
                  </a:lnTo>
                  <a:lnTo>
                    <a:pt x="2794" y="1665"/>
                  </a:lnTo>
                  <a:lnTo>
                    <a:pt x="2803" y="1635"/>
                  </a:lnTo>
                  <a:lnTo>
                    <a:pt x="2810" y="1605"/>
                  </a:lnTo>
                  <a:lnTo>
                    <a:pt x="2818" y="1576"/>
                  </a:lnTo>
                  <a:lnTo>
                    <a:pt x="2823" y="1547"/>
                  </a:lnTo>
                  <a:lnTo>
                    <a:pt x="2829" y="1496"/>
                  </a:lnTo>
                  <a:lnTo>
                    <a:pt x="2833" y="1455"/>
                  </a:lnTo>
                  <a:lnTo>
                    <a:pt x="2835" y="1416"/>
                  </a:lnTo>
                  <a:lnTo>
                    <a:pt x="2835" y="1416"/>
                  </a:lnTo>
                  <a:lnTo>
                    <a:pt x="2835" y="679"/>
                  </a:lnTo>
                  <a:lnTo>
                    <a:pt x="2835" y="653"/>
                  </a:lnTo>
                  <a:lnTo>
                    <a:pt x="2813" y="640"/>
                  </a:lnTo>
                  <a:close/>
                  <a:moveTo>
                    <a:pt x="1623" y="2771"/>
                  </a:moveTo>
                  <a:lnTo>
                    <a:pt x="1623" y="2771"/>
                  </a:lnTo>
                  <a:lnTo>
                    <a:pt x="1624" y="2783"/>
                  </a:lnTo>
                  <a:lnTo>
                    <a:pt x="1628" y="2794"/>
                  </a:lnTo>
                  <a:lnTo>
                    <a:pt x="1634" y="2804"/>
                  </a:lnTo>
                  <a:lnTo>
                    <a:pt x="1641" y="2813"/>
                  </a:lnTo>
                  <a:lnTo>
                    <a:pt x="1649" y="2820"/>
                  </a:lnTo>
                  <a:lnTo>
                    <a:pt x="1659" y="2825"/>
                  </a:lnTo>
                  <a:lnTo>
                    <a:pt x="1671" y="2829"/>
                  </a:lnTo>
                  <a:lnTo>
                    <a:pt x="1683" y="2830"/>
                  </a:lnTo>
                  <a:lnTo>
                    <a:pt x="2673" y="2726"/>
                  </a:lnTo>
                  <a:lnTo>
                    <a:pt x="2673" y="2412"/>
                  </a:lnTo>
                  <a:lnTo>
                    <a:pt x="1624" y="2412"/>
                  </a:lnTo>
                  <a:lnTo>
                    <a:pt x="1623" y="2771"/>
                  </a:lnTo>
                  <a:close/>
                  <a:moveTo>
                    <a:pt x="1827" y="183"/>
                  </a:moveTo>
                  <a:lnTo>
                    <a:pt x="1777" y="183"/>
                  </a:lnTo>
                  <a:lnTo>
                    <a:pt x="1777" y="1237"/>
                  </a:lnTo>
                  <a:lnTo>
                    <a:pt x="1061" y="1237"/>
                  </a:lnTo>
                  <a:lnTo>
                    <a:pt x="1061" y="233"/>
                  </a:lnTo>
                  <a:lnTo>
                    <a:pt x="1705" y="233"/>
                  </a:lnTo>
                  <a:lnTo>
                    <a:pt x="1705" y="183"/>
                  </a:lnTo>
                  <a:lnTo>
                    <a:pt x="1011" y="183"/>
                  </a:lnTo>
                  <a:lnTo>
                    <a:pt x="1011" y="1286"/>
                  </a:lnTo>
                  <a:lnTo>
                    <a:pt x="1827" y="1286"/>
                  </a:lnTo>
                  <a:lnTo>
                    <a:pt x="1827" y="183"/>
                  </a:lnTo>
                  <a:close/>
                  <a:moveTo>
                    <a:pt x="1418" y="1319"/>
                  </a:moveTo>
                  <a:lnTo>
                    <a:pt x="1418" y="1319"/>
                  </a:lnTo>
                  <a:lnTo>
                    <a:pt x="1411" y="1320"/>
                  </a:lnTo>
                  <a:lnTo>
                    <a:pt x="1403" y="1323"/>
                  </a:lnTo>
                  <a:lnTo>
                    <a:pt x="1396" y="1326"/>
                  </a:lnTo>
                  <a:lnTo>
                    <a:pt x="1389" y="1331"/>
                  </a:lnTo>
                  <a:lnTo>
                    <a:pt x="1384" y="1336"/>
                  </a:lnTo>
                  <a:lnTo>
                    <a:pt x="1381" y="1344"/>
                  </a:lnTo>
                  <a:lnTo>
                    <a:pt x="1378" y="1351"/>
                  </a:lnTo>
                  <a:lnTo>
                    <a:pt x="1378" y="1360"/>
                  </a:lnTo>
                  <a:lnTo>
                    <a:pt x="1378" y="1360"/>
                  </a:lnTo>
                  <a:lnTo>
                    <a:pt x="1378" y="1368"/>
                  </a:lnTo>
                  <a:lnTo>
                    <a:pt x="1381" y="1375"/>
                  </a:lnTo>
                  <a:lnTo>
                    <a:pt x="1384" y="1383"/>
                  </a:lnTo>
                  <a:lnTo>
                    <a:pt x="1389" y="1389"/>
                  </a:lnTo>
                  <a:lnTo>
                    <a:pt x="1396" y="1394"/>
                  </a:lnTo>
                  <a:lnTo>
                    <a:pt x="1403" y="1398"/>
                  </a:lnTo>
                  <a:lnTo>
                    <a:pt x="1411" y="1400"/>
                  </a:lnTo>
                  <a:lnTo>
                    <a:pt x="1418" y="1400"/>
                  </a:lnTo>
                  <a:lnTo>
                    <a:pt x="1418" y="1400"/>
                  </a:lnTo>
                  <a:lnTo>
                    <a:pt x="1427" y="1400"/>
                  </a:lnTo>
                  <a:lnTo>
                    <a:pt x="1434" y="1398"/>
                  </a:lnTo>
                  <a:lnTo>
                    <a:pt x="1442" y="1394"/>
                  </a:lnTo>
                  <a:lnTo>
                    <a:pt x="1448" y="1389"/>
                  </a:lnTo>
                  <a:lnTo>
                    <a:pt x="1453" y="1383"/>
                  </a:lnTo>
                  <a:lnTo>
                    <a:pt x="1457" y="1375"/>
                  </a:lnTo>
                  <a:lnTo>
                    <a:pt x="1458" y="1368"/>
                  </a:lnTo>
                  <a:lnTo>
                    <a:pt x="1459" y="1360"/>
                  </a:lnTo>
                  <a:lnTo>
                    <a:pt x="1459" y="1360"/>
                  </a:lnTo>
                  <a:lnTo>
                    <a:pt x="1458" y="1351"/>
                  </a:lnTo>
                  <a:lnTo>
                    <a:pt x="1457" y="1344"/>
                  </a:lnTo>
                  <a:lnTo>
                    <a:pt x="1453" y="1336"/>
                  </a:lnTo>
                  <a:lnTo>
                    <a:pt x="1448" y="1331"/>
                  </a:lnTo>
                  <a:lnTo>
                    <a:pt x="1442" y="1326"/>
                  </a:lnTo>
                  <a:lnTo>
                    <a:pt x="1434" y="1323"/>
                  </a:lnTo>
                  <a:lnTo>
                    <a:pt x="1427" y="1320"/>
                  </a:lnTo>
                  <a:lnTo>
                    <a:pt x="1418" y="1319"/>
                  </a:lnTo>
                  <a:close/>
                  <a:moveTo>
                    <a:pt x="1368" y="278"/>
                  </a:moveTo>
                  <a:lnTo>
                    <a:pt x="1120" y="527"/>
                  </a:lnTo>
                  <a:lnTo>
                    <a:pt x="1154" y="563"/>
                  </a:lnTo>
                  <a:lnTo>
                    <a:pt x="1403" y="313"/>
                  </a:lnTo>
                  <a:lnTo>
                    <a:pt x="1368" y="278"/>
                  </a:lnTo>
                  <a:close/>
                  <a:moveTo>
                    <a:pt x="1008" y="1535"/>
                  </a:moveTo>
                  <a:lnTo>
                    <a:pt x="1829" y="1535"/>
                  </a:lnTo>
                  <a:lnTo>
                    <a:pt x="1829" y="1535"/>
                  </a:lnTo>
                  <a:lnTo>
                    <a:pt x="1845" y="1534"/>
                  </a:lnTo>
                  <a:lnTo>
                    <a:pt x="1860" y="1532"/>
                  </a:lnTo>
                  <a:lnTo>
                    <a:pt x="1875" y="1529"/>
                  </a:lnTo>
                  <a:lnTo>
                    <a:pt x="1890" y="1522"/>
                  </a:lnTo>
                  <a:lnTo>
                    <a:pt x="1904" y="1516"/>
                  </a:lnTo>
                  <a:lnTo>
                    <a:pt x="1918" y="1509"/>
                  </a:lnTo>
                  <a:lnTo>
                    <a:pt x="1930" y="1500"/>
                  </a:lnTo>
                  <a:lnTo>
                    <a:pt x="1942" y="1490"/>
                  </a:lnTo>
                  <a:lnTo>
                    <a:pt x="1953" y="1479"/>
                  </a:lnTo>
                  <a:lnTo>
                    <a:pt x="1962" y="1466"/>
                  </a:lnTo>
                  <a:lnTo>
                    <a:pt x="1970" y="1454"/>
                  </a:lnTo>
                  <a:lnTo>
                    <a:pt x="1977" y="1440"/>
                  </a:lnTo>
                  <a:lnTo>
                    <a:pt x="1983" y="1426"/>
                  </a:lnTo>
                  <a:lnTo>
                    <a:pt x="1987" y="1410"/>
                  </a:lnTo>
                  <a:lnTo>
                    <a:pt x="1989" y="1395"/>
                  </a:lnTo>
                  <a:lnTo>
                    <a:pt x="1990" y="1379"/>
                  </a:lnTo>
                  <a:lnTo>
                    <a:pt x="1990" y="156"/>
                  </a:lnTo>
                  <a:lnTo>
                    <a:pt x="1990" y="156"/>
                  </a:lnTo>
                  <a:lnTo>
                    <a:pt x="1989" y="140"/>
                  </a:lnTo>
                  <a:lnTo>
                    <a:pt x="1987" y="125"/>
                  </a:lnTo>
                  <a:lnTo>
                    <a:pt x="1983" y="110"/>
                  </a:lnTo>
                  <a:lnTo>
                    <a:pt x="1977" y="95"/>
                  </a:lnTo>
                  <a:lnTo>
                    <a:pt x="1970" y="81"/>
                  </a:lnTo>
                  <a:lnTo>
                    <a:pt x="1962" y="69"/>
                  </a:lnTo>
                  <a:lnTo>
                    <a:pt x="1953" y="56"/>
                  </a:lnTo>
                  <a:lnTo>
                    <a:pt x="1942" y="45"/>
                  </a:lnTo>
                  <a:lnTo>
                    <a:pt x="1930" y="35"/>
                  </a:lnTo>
                  <a:lnTo>
                    <a:pt x="1918" y="26"/>
                  </a:lnTo>
                  <a:lnTo>
                    <a:pt x="1904" y="19"/>
                  </a:lnTo>
                  <a:lnTo>
                    <a:pt x="1890" y="12"/>
                  </a:lnTo>
                  <a:lnTo>
                    <a:pt x="1875" y="7"/>
                  </a:lnTo>
                  <a:lnTo>
                    <a:pt x="1860" y="4"/>
                  </a:lnTo>
                  <a:lnTo>
                    <a:pt x="1845" y="1"/>
                  </a:lnTo>
                  <a:lnTo>
                    <a:pt x="1829" y="0"/>
                  </a:lnTo>
                  <a:lnTo>
                    <a:pt x="1008" y="0"/>
                  </a:lnTo>
                  <a:lnTo>
                    <a:pt x="1008" y="0"/>
                  </a:lnTo>
                  <a:lnTo>
                    <a:pt x="992" y="1"/>
                  </a:lnTo>
                  <a:lnTo>
                    <a:pt x="976" y="4"/>
                  </a:lnTo>
                  <a:lnTo>
                    <a:pt x="961" y="7"/>
                  </a:lnTo>
                  <a:lnTo>
                    <a:pt x="946" y="12"/>
                  </a:lnTo>
                  <a:lnTo>
                    <a:pt x="932" y="19"/>
                  </a:lnTo>
                  <a:lnTo>
                    <a:pt x="920" y="26"/>
                  </a:lnTo>
                  <a:lnTo>
                    <a:pt x="907" y="35"/>
                  </a:lnTo>
                  <a:lnTo>
                    <a:pt x="895" y="45"/>
                  </a:lnTo>
                  <a:lnTo>
                    <a:pt x="885" y="56"/>
                  </a:lnTo>
                  <a:lnTo>
                    <a:pt x="875" y="69"/>
                  </a:lnTo>
                  <a:lnTo>
                    <a:pt x="867" y="81"/>
                  </a:lnTo>
                  <a:lnTo>
                    <a:pt x="860" y="95"/>
                  </a:lnTo>
                  <a:lnTo>
                    <a:pt x="855" y="110"/>
                  </a:lnTo>
                  <a:lnTo>
                    <a:pt x="851" y="125"/>
                  </a:lnTo>
                  <a:lnTo>
                    <a:pt x="848" y="140"/>
                  </a:lnTo>
                  <a:lnTo>
                    <a:pt x="847" y="156"/>
                  </a:lnTo>
                  <a:lnTo>
                    <a:pt x="847" y="1379"/>
                  </a:lnTo>
                  <a:lnTo>
                    <a:pt x="847" y="1379"/>
                  </a:lnTo>
                  <a:lnTo>
                    <a:pt x="848" y="1395"/>
                  </a:lnTo>
                  <a:lnTo>
                    <a:pt x="851" y="1411"/>
                  </a:lnTo>
                  <a:lnTo>
                    <a:pt x="855" y="1426"/>
                  </a:lnTo>
                  <a:lnTo>
                    <a:pt x="860" y="1440"/>
                  </a:lnTo>
                  <a:lnTo>
                    <a:pt x="867" y="1454"/>
                  </a:lnTo>
                  <a:lnTo>
                    <a:pt x="875" y="1466"/>
                  </a:lnTo>
                  <a:lnTo>
                    <a:pt x="885" y="1479"/>
                  </a:lnTo>
                  <a:lnTo>
                    <a:pt x="895" y="1490"/>
                  </a:lnTo>
                  <a:lnTo>
                    <a:pt x="907" y="1500"/>
                  </a:lnTo>
                  <a:lnTo>
                    <a:pt x="920" y="1509"/>
                  </a:lnTo>
                  <a:lnTo>
                    <a:pt x="932" y="1516"/>
                  </a:lnTo>
                  <a:lnTo>
                    <a:pt x="946" y="1522"/>
                  </a:lnTo>
                  <a:lnTo>
                    <a:pt x="961" y="1529"/>
                  </a:lnTo>
                  <a:lnTo>
                    <a:pt x="976" y="1532"/>
                  </a:lnTo>
                  <a:lnTo>
                    <a:pt x="992" y="1534"/>
                  </a:lnTo>
                  <a:lnTo>
                    <a:pt x="1008" y="1535"/>
                  </a:lnTo>
                  <a:close/>
                  <a:moveTo>
                    <a:pt x="947" y="156"/>
                  </a:moveTo>
                  <a:lnTo>
                    <a:pt x="947" y="156"/>
                  </a:lnTo>
                  <a:lnTo>
                    <a:pt x="948" y="146"/>
                  </a:lnTo>
                  <a:lnTo>
                    <a:pt x="952" y="135"/>
                  </a:lnTo>
                  <a:lnTo>
                    <a:pt x="957" y="126"/>
                  </a:lnTo>
                  <a:lnTo>
                    <a:pt x="965" y="117"/>
                  </a:lnTo>
                  <a:lnTo>
                    <a:pt x="973" y="110"/>
                  </a:lnTo>
                  <a:lnTo>
                    <a:pt x="983" y="105"/>
                  </a:lnTo>
                  <a:lnTo>
                    <a:pt x="996" y="101"/>
                  </a:lnTo>
                  <a:lnTo>
                    <a:pt x="1008" y="100"/>
                  </a:lnTo>
                  <a:lnTo>
                    <a:pt x="1829" y="100"/>
                  </a:lnTo>
                  <a:lnTo>
                    <a:pt x="1829" y="100"/>
                  </a:lnTo>
                  <a:lnTo>
                    <a:pt x="1842" y="101"/>
                  </a:lnTo>
                  <a:lnTo>
                    <a:pt x="1853" y="105"/>
                  </a:lnTo>
                  <a:lnTo>
                    <a:pt x="1864" y="110"/>
                  </a:lnTo>
                  <a:lnTo>
                    <a:pt x="1873" y="117"/>
                  </a:lnTo>
                  <a:lnTo>
                    <a:pt x="1880" y="126"/>
                  </a:lnTo>
                  <a:lnTo>
                    <a:pt x="1885" y="135"/>
                  </a:lnTo>
                  <a:lnTo>
                    <a:pt x="1889" y="146"/>
                  </a:lnTo>
                  <a:lnTo>
                    <a:pt x="1890" y="156"/>
                  </a:lnTo>
                  <a:lnTo>
                    <a:pt x="1890" y="1379"/>
                  </a:lnTo>
                  <a:lnTo>
                    <a:pt x="1890" y="1379"/>
                  </a:lnTo>
                  <a:lnTo>
                    <a:pt x="1889" y="1390"/>
                  </a:lnTo>
                  <a:lnTo>
                    <a:pt x="1885" y="1400"/>
                  </a:lnTo>
                  <a:lnTo>
                    <a:pt x="1880" y="1410"/>
                  </a:lnTo>
                  <a:lnTo>
                    <a:pt x="1873" y="1417"/>
                  </a:lnTo>
                  <a:lnTo>
                    <a:pt x="1864" y="1425"/>
                  </a:lnTo>
                  <a:lnTo>
                    <a:pt x="1853" y="1430"/>
                  </a:lnTo>
                  <a:lnTo>
                    <a:pt x="1842" y="1434"/>
                  </a:lnTo>
                  <a:lnTo>
                    <a:pt x="1829" y="1435"/>
                  </a:lnTo>
                  <a:lnTo>
                    <a:pt x="1008" y="1435"/>
                  </a:lnTo>
                  <a:lnTo>
                    <a:pt x="1008" y="1435"/>
                  </a:lnTo>
                  <a:lnTo>
                    <a:pt x="996" y="1434"/>
                  </a:lnTo>
                  <a:lnTo>
                    <a:pt x="983" y="1430"/>
                  </a:lnTo>
                  <a:lnTo>
                    <a:pt x="973" y="1425"/>
                  </a:lnTo>
                  <a:lnTo>
                    <a:pt x="965" y="1417"/>
                  </a:lnTo>
                  <a:lnTo>
                    <a:pt x="957" y="1410"/>
                  </a:lnTo>
                  <a:lnTo>
                    <a:pt x="952" y="1400"/>
                  </a:lnTo>
                  <a:lnTo>
                    <a:pt x="948" y="1390"/>
                  </a:lnTo>
                  <a:lnTo>
                    <a:pt x="947" y="1379"/>
                  </a:lnTo>
                  <a:lnTo>
                    <a:pt x="947" y="156"/>
                  </a:lnTo>
                  <a:close/>
                  <a:moveTo>
                    <a:pt x="1247" y="580"/>
                  </a:moveTo>
                  <a:lnTo>
                    <a:pt x="1403" y="413"/>
                  </a:lnTo>
                  <a:lnTo>
                    <a:pt x="1367" y="379"/>
                  </a:lnTo>
                  <a:lnTo>
                    <a:pt x="1211" y="547"/>
                  </a:lnTo>
                  <a:lnTo>
                    <a:pt x="1247" y="5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0" name="Freeform 10"/>
            <p:cNvSpPr>
              <a:spLocks/>
            </p:cNvSpPr>
            <p:nvPr/>
          </p:nvSpPr>
          <p:spPr bwMode="auto">
            <a:xfrm>
              <a:off x="1841500" y="1768476"/>
              <a:ext cx="368300" cy="542925"/>
            </a:xfrm>
            <a:custGeom>
              <a:avLst/>
              <a:gdLst>
                <a:gd name="T0" fmla="*/ 620 w 1158"/>
                <a:gd name="T1" fmla="*/ 1625 h 1709"/>
                <a:gd name="T2" fmla="*/ 420 w 1158"/>
                <a:gd name="T3" fmla="*/ 1395 h 1709"/>
                <a:gd name="T4" fmla="*/ 166 w 1158"/>
                <a:gd name="T5" fmla="*/ 1097 h 1709"/>
                <a:gd name="T6" fmla="*/ 125 w 1158"/>
                <a:gd name="T7" fmla="*/ 1011 h 1709"/>
                <a:gd name="T8" fmla="*/ 100 w 1158"/>
                <a:gd name="T9" fmla="*/ 908 h 1709"/>
                <a:gd name="T10" fmla="*/ 87 w 1158"/>
                <a:gd name="T11" fmla="*/ 788 h 1709"/>
                <a:gd name="T12" fmla="*/ 110 w 1158"/>
                <a:gd name="T13" fmla="*/ 101 h 1709"/>
                <a:gd name="T14" fmla="*/ 149 w 1158"/>
                <a:gd name="T15" fmla="*/ 141 h 1709"/>
                <a:gd name="T16" fmla="*/ 324 w 1158"/>
                <a:gd name="T17" fmla="*/ 673 h 1709"/>
                <a:gd name="T18" fmla="*/ 316 w 1158"/>
                <a:gd name="T19" fmla="*/ 685 h 1709"/>
                <a:gd name="T20" fmla="*/ 299 w 1158"/>
                <a:gd name="T21" fmla="*/ 719 h 1709"/>
                <a:gd name="T22" fmla="*/ 285 w 1158"/>
                <a:gd name="T23" fmla="*/ 814 h 1709"/>
                <a:gd name="T24" fmla="*/ 290 w 1158"/>
                <a:gd name="T25" fmla="*/ 863 h 1709"/>
                <a:gd name="T26" fmla="*/ 317 w 1158"/>
                <a:gd name="T27" fmla="*/ 929 h 1709"/>
                <a:gd name="T28" fmla="*/ 642 w 1158"/>
                <a:gd name="T29" fmla="*/ 1242 h 1709"/>
                <a:gd name="T30" fmla="*/ 354 w 1158"/>
                <a:gd name="T31" fmla="*/ 904 h 1709"/>
                <a:gd name="T32" fmla="*/ 332 w 1158"/>
                <a:gd name="T33" fmla="*/ 854 h 1709"/>
                <a:gd name="T34" fmla="*/ 329 w 1158"/>
                <a:gd name="T35" fmla="*/ 814 h 1709"/>
                <a:gd name="T36" fmla="*/ 341 w 1158"/>
                <a:gd name="T37" fmla="*/ 732 h 1709"/>
                <a:gd name="T38" fmla="*/ 355 w 1158"/>
                <a:gd name="T39" fmla="*/ 705 h 1709"/>
                <a:gd name="T40" fmla="*/ 389 w 1158"/>
                <a:gd name="T41" fmla="*/ 682 h 1709"/>
                <a:gd name="T42" fmla="*/ 412 w 1158"/>
                <a:gd name="T43" fmla="*/ 673 h 1709"/>
                <a:gd name="T44" fmla="*/ 697 w 1158"/>
                <a:gd name="T45" fmla="*/ 975 h 1709"/>
                <a:gd name="T46" fmla="*/ 757 w 1158"/>
                <a:gd name="T47" fmla="*/ 995 h 1709"/>
                <a:gd name="T48" fmla="*/ 845 w 1158"/>
                <a:gd name="T49" fmla="*/ 1037 h 1709"/>
                <a:gd name="T50" fmla="*/ 915 w 1158"/>
                <a:gd name="T51" fmla="*/ 1091 h 1709"/>
                <a:gd name="T52" fmla="*/ 971 w 1158"/>
                <a:gd name="T53" fmla="*/ 1152 h 1709"/>
                <a:gd name="T54" fmla="*/ 1012 w 1158"/>
                <a:gd name="T55" fmla="*/ 1219 h 1709"/>
                <a:gd name="T56" fmla="*/ 1053 w 1158"/>
                <a:gd name="T57" fmla="*/ 1328 h 1709"/>
                <a:gd name="T58" fmla="*/ 1071 w 1158"/>
                <a:gd name="T59" fmla="*/ 1473 h 1709"/>
                <a:gd name="T60" fmla="*/ 1158 w 1158"/>
                <a:gd name="T61" fmla="*/ 1473 h 1709"/>
                <a:gd name="T62" fmla="*/ 1138 w 1158"/>
                <a:gd name="T63" fmla="*/ 1308 h 1709"/>
                <a:gd name="T64" fmla="*/ 1110 w 1158"/>
                <a:gd name="T65" fmla="*/ 1224 h 1709"/>
                <a:gd name="T66" fmla="*/ 1068 w 1158"/>
                <a:gd name="T67" fmla="*/ 1143 h 1709"/>
                <a:gd name="T68" fmla="*/ 1012 w 1158"/>
                <a:gd name="T69" fmla="*/ 1067 h 1709"/>
                <a:gd name="T70" fmla="*/ 940 w 1158"/>
                <a:gd name="T71" fmla="*/ 999 h 1709"/>
                <a:gd name="T72" fmla="*/ 851 w 1158"/>
                <a:gd name="T73" fmla="*/ 941 h 1709"/>
                <a:gd name="T74" fmla="*/ 743 w 1158"/>
                <a:gd name="T75" fmla="*/ 898 h 1709"/>
                <a:gd name="T76" fmla="*/ 495 w 1158"/>
                <a:gd name="T77" fmla="*/ 633 h 1709"/>
                <a:gd name="T78" fmla="*/ 407 w 1158"/>
                <a:gd name="T79" fmla="*/ 571 h 1709"/>
                <a:gd name="T80" fmla="*/ 244 w 1158"/>
                <a:gd name="T81" fmla="*/ 128 h 1709"/>
                <a:gd name="T82" fmla="*/ 200 w 1158"/>
                <a:gd name="T83" fmla="*/ 68 h 1709"/>
                <a:gd name="T84" fmla="*/ 165 w 1158"/>
                <a:gd name="T85" fmla="*/ 34 h 1709"/>
                <a:gd name="T86" fmla="*/ 99 w 1158"/>
                <a:gd name="T87" fmla="*/ 3 h 1709"/>
                <a:gd name="T88" fmla="*/ 64 w 1158"/>
                <a:gd name="T89" fmla="*/ 2 h 1709"/>
                <a:gd name="T90" fmla="*/ 0 w 1158"/>
                <a:gd name="T91" fmla="*/ 27 h 1709"/>
                <a:gd name="T92" fmla="*/ 2 w 1158"/>
                <a:gd name="T93" fmla="*/ 829 h 1709"/>
                <a:gd name="T94" fmla="*/ 25 w 1158"/>
                <a:gd name="T95" fmla="*/ 979 h 1709"/>
                <a:gd name="T96" fmla="*/ 66 w 1158"/>
                <a:gd name="T97" fmla="*/ 1096 h 1709"/>
                <a:gd name="T98" fmla="*/ 134 w 1158"/>
                <a:gd name="T99" fmla="*/ 1193 h 1709"/>
                <a:gd name="T100" fmla="*/ 544 w 1158"/>
                <a:gd name="T101" fmla="*/ 1670 h 1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158" h="1709">
                  <a:moveTo>
                    <a:pt x="544" y="1709"/>
                  </a:moveTo>
                  <a:lnTo>
                    <a:pt x="631" y="1709"/>
                  </a:lnTo>
                  <a:lnTo>
                    <a:pt x="631" y="1638"/>
                  </a:lnTo>
                  <a:lnTo>
                    <a:pt x="620" y="1625"/>
                  </a:lnTo>
                  <a:lnTo>
                    <a:pt x="620" y="1625"/>
                  </a:lnTo>
                  <a:lnTo>
                    <a:pt x="559" y="1555"/>
                  </a:lnTo>
                  <a:lnTo>
                    <a:pt x="420" y="1395"/>
                  </a:lnTo>
                  <a:lnTo>
                    <a:pt x="420" y="1395"/>
                  </a:lnTo>
                  <a:lnTo>
                    <a:pt x="266" y="1217"/>
                  </a:lnTo>
                  <a:lnTo>
                    <a:pt x="206" y="1145"/>
                  </a:lnTo>
                  <a:lnTo>
                    <a:pt x="166" y="1097"/>
                  </a:lnTo>
                  <a:lnTo>
                    <a:pt x="166" y="1097"/>
                  </a:lnTo>
                  <a:lnTo>
                    <a:pt x="155" y="1078"/>
                  </a:lnTo>
                  <a:lnTo>
                    <a:pt x="144" y="1057"/>
                  </a:lnTo>
                  <a:lnTo>
                    <a:pt x="134" y="1035"/>
                  </a:lnTo>
                  <a:lnTo>
                    <a:pt x="125" y="1011"/>
                  </a:lnTo>
                  <a:lnTo>
                    <a:pt x="117" y="985"/>
                  </a:lnTo>
                  <a:lnTo>
                    <a:pt x="110" y="959"/>
                  </a:lnTo>
                  <a:lnTo>
                    <a:pt x="105" y="932"/>
                  </a:lnTo>
                  <a:lnTo>
                    <a:pt x="100" y="908"/>
                  </a:lnTo>
                  <a:lnTo>
                    <a:pt x="100" y="908"/>
                  </a:lnTo>
                  <a:lnTo>
                    <a:pt x="94" y="860"/>
                  </a:lnTo>
                  <a:lnTo>
                    <a:pt x="90" y="823"/>
                  </a:lnTo>
                  <a:lnTo>
                    <a:pt x="87" y="788"/>
                  </a:lnTo>
                  <a:lnTo>
                    <a:pt x="87" y="89"/>
                  </a:lnTo>
                  <a:lnTo>
                    <a:pt x="87" y="89"/>
                  </a:lnTo>
                  <a:lnTo>
                    <a:pt x="99" y="94"/>
                  </a:lnTo>
                  <a:lnTo>
                    <a:pt x="110" y="101"/>
                  </a:lnTo>
                  <a:lnTo>
                    <a:pt x="124" y="113"/>
                  </a:lnTo>
                  <a:lnTo>
                    <a:pt x="135" y="125"/>
                  </a:lnTo>
                  <a:lnTo>
                    <a:pt x="135" y="125"/>
                  </a:lnTo>
                  <a:lnTo>
                    <a:pt x="149" y="141"/>
                  </a:lnTo>
                  <a:lnTo>
                    <a:pt x="159" y="156"/>
                  </a:lnTo>
                  <a:lnTo>
                    <a:pt x="159" y="156"/>
                  </a:lnTo>
                  <a:lnTo>
                    <a:pt x="166" y="166"/>
                  </a:lnTo>
                  <a:lnTo>
                    <a:pt x="324" y="673"/>
                  </a:lnTo>
                  <a:lnTo>
                    <a:pt x="324" y="673"/>
                  </a:lnTo>
                  <a:lnTo>
                    <a:pt x="324" y="675"/>
                  </a:lnTo>
                  <a:lnTo>
                    <a:pt x="324" y="675"/>
                  </a:lnTo>
                  <a:lnTo>
                    <a:pt x="316" y="685"/>
                  </a:lnTo>
                  <a:lnTo>
                    <a:pt x="310" y="695"/>
                  </a:lnTo>
                  <a:lnTo>
                    <a:pt x="304" y="707"/>
                  </a:lnTo>
                  <a:lnTo>
                    <a:pt x="299" y="719"/>
                  </a:lnTo>
                  <a:lnTo>
                    <a:pt x="299" y="719"/>
                  </a:lnTo>
                  <a:lnTo>
                    <a:pt x="295" y="737"/>
                  </a:lnTo>
                  <a:lnTo>
                    <a:pt x="290" y="759"/>
                  </a:lnTo>
                  <a:lnTo>
                    <a:pt x="286" y="785"/>
                  </a:lnTo>
                  <a:lnTo>
                    <a:pt x="285" y="814"/>
                  </a:lnTo>
                  <a:lnTo>
                    <a:pt x="285" y="814"/>
                  </a:lnTo>
                  <a:lnTo>
                    <a:pt x="285" y="829"/>
                  </a:lnTo>
                  <a:lnTo>
                    <a:pt x="286" y="845"/>
                  </a:lnTo>
                  <a:lnTo>
                    <a:pt x="290" y="863"/>
                  </a:lnTo>
                  <a:lnTo>
                    <a:pt x="294" y="879"/>
                  </a:lnTo>
                  <a:lnTo>
                    <a:pt x="300" y="896"/>
                  </a:lnTo>
                  <a:lnTo>
                    <a:pt x="307" y="913"/>
                  </a:lnTo>
                  <a:lnTo>
                    <a:pt x="317" y="929"/>
                  </a:lnTo>
                  <a:lnTo>
                    <a:pt x="329" y="944"/>
                  </a:lnTo>
                  <a:lnTo>
                    <a:pt x="329" y="944"/>
                  </a:lnTo>
                  <a:lnTo>
                    <a:pt x="610" y="1271"/>
                  </a:lnTo>
                  <a:lnTo>
                    <a:pt x="642" y="1242"/>
                  </a:lnTo>
                  <a:lnTo>
                    <a:pt x="642" y="1242"/>
                  </a:lnTo>
                  <a:lnTo>
                    <a:pt x="362" y="915"/>
                  </a:lnTo>
                  <a:lnTo>
                    <a:pt x="362" y="915"/>
                  </a:lnTo>
                  <a:lnTo>
                    <a:pt x="354" y="904"/>
                  </a:lnTo>
                  <a:lnTo>
                    <a:pt x="346" y="891"/>
                  </a:lnTo>
                  <a:lnTo>
                    <a:pt x="340" y="879"/>
                  </a:lnTo>
                  <a:lnTo>
                    <a:pt x="335" y="866"/>
                  </a:lnTo>
                  <a:lnTo>
                    <a:pt x="332" y="854"/>
                  </a:lnTo>
                  <a:lnTo>
                    <a:pt x="330" y="840"/>
                  </a:lnTo>
                  <a:lnTo>
                    <a:pt x="329" y="826"/>
                  </a:lnTo>
                  <a:lnTo>
                    <a:pt x="329" y="814"/>
                  </a:lnTo>
                  <a:lnTo>
                    <a:pt x="329" y="814"/>
                  </a:lnTo>
                  <a:lnTo>
                    <a:pt x="330" y="789"/>
                  </a:lnTo>
                  <a:lnTo>
                    <a:pt x="332" y="767"/>
                  </a:lnTo>
                  <a:lnTo>
                    <a:pt x="336" y="747"/>
                  </a:lnTo>
                  <a:lnTo>
                    <a:pt x="341" y="732"/>
                  </a:lnTo>
                  <a:lnTo>
                    <a:pt x="341" y="732"/>
                  </a:lnTo>
                  <a:lnTo>
                    <a:pt x="345" y="722"/>
                  </a:lnTo>
                  <a:lnTo>
                    <a:pt x="350" y="713"/>
                  </a:lnTo>
                  <a:lnTo>
                    <a:pt x="355" y="705"/>
                  </a:lnTo>
                  <a:lnTo>
                    <a:pt x="362" y="698"/>
                  </a:lnTo>
                  <a:lnTo>
                    <a:pt x="371" y="692"/>
                  </a:lnTo>
                  <a:lnTo>
                    <a:pt x="380" y="687"/>
                  </a:lnTo>
                  <a:lnTo>
                    <a:pt x="389" y="682"/>
                  </a:lnTo>
                  <a:lnTo>
                    <a:pt x="399" y="678"/>
                  </a:lnTo>
                  <a:lnTo>
                    <a:pt x="399" y="678"/>
                  </a:lnTo>
                  <a:lnTo>
                    <a:pt x="412" y="673"/>
                  </a:lnTo>
                  <a:lnTo>
                    <a:pt x="412" y="673"/>
                  </a:lnTo>
                  <a:lnTo>
                    <a:pt x="556" y="828"/>
                  </a:lnTo>
                  <a:lnTo>
                    <a:pt x="633" y="909"/>
                  </a:lnTo>
                  <a:lnTo>
                    <a:pt x="690" y="966"/>
                  </a:lnTo>
                  <a:lnTo>
                    <a:pt x="697" y="975"/>
                  </a:lnTo>
                  <a:lnTo>
                    <a:pt x="707" y="977"/>
                  </a:lnTo>
                  <a:lnTo>
                    <a:pt x="707" y="977"/>
                  </a:lnTo>
                  <a:lnTo>
                    <a:pt x="733" y="986"/>
                  </a:lnTo>
                  <a:lnTo>
                    <a:pt x="757" y="995"/>
                  </a:lnTo>
                  <a:lnTo>
                    <a:pt x="781" y="1005"/>
                  </a:lnTo>
                  <a:lnTo>
                    <a:pt x="803" y="1015"/>
                  </a:lnTo>
                  <a:lnTo>
                    <a:pt x="825" y="1026"/>
                  </a:lnTo>
                  <a:lnTo>
                    <a:pt x="845" y="1037"/>
                  </a:lnTo>
                  <a:lnTo>
                    <a:pt x="863" y="1050"/>
                  </a:lnTo>
                  <a:lnTo>
                    <a:pt x="882" y="1064"/>
                  </a:lnTo>
                  <a:lnTo>
                    <a:pt x="898" y="1077"/>
                  </a:lnTo>
                  <a:lnTo>
                    <a:pt x="915" y="1091"/>
                  </a:lnTo>
                  <a:lnTo>
                    <a:pt x="930" y="1106"/>
                  </a:lnTo>
                  <a:lnTo>
                    <a:pt x="945" y="1121"/>
                  </a:lnTo>
                  <a:lnTo>
                    <a:pt x="958" y="1137"/>
                  </a:lnTo>
                  <a:lnTo>
                    <a:pt x="971" y="1152"/>
                  </a:lnTo>
                  <a:lnTo>
                    <a:pt x="982" y="1170"/>
                  </a:lnTo>
                  <a:lnTo>
                    <a:pt x="993" y="1186"/>
                  </a:lnTo>
                  <a:lnTo>
                    <a:pt x="1003" y="1203"/>
                  </a:lnTo>
                  <a:lnTo>
                    <a:pt x="1012" y="1219"/>
                  </a:lnTo>
                  <a:lnTo>
                    <a:pt x="1021" y="1237"/>
                  </a:lnTo>
                  <a:lnTo>
                    <a:pt x="1028" y="1256"/>
                  </a:lnTo>
                  <a:lnTo>
                    <a:pt x="1042" y="1292"/>
                  </a:lnTo>
                  <a:lnTo>
                    <a:pt x="1053" y="1328"/>
                  </a:lnTo>
                  <a:lnTo>
                    <a:pt x="1061" y="1364"/>
                  </a:lnTo>
                  <a:lnTo>
                    <a:pt x="1067" y="1400"/>
                  </a:lnTo>
                  <a:lnTo>
                    <a:pt x="1070" y="1438"/>
                  </a:lnTo>
                  <a:lnTo>
                    <a:pt x="1071" y="1473"/>
                  </a:lnTo>
                  <a:lnTo>
                    <a:pt x="1071" y="1709"/>
                  </a:lnTo>
                  <a:lnTo>
                    <a:pt x="1158" y="1709"/>
                  </a:lnTo>
                  <a:lnTo>
                    <a:pt x="1158" y="1473"/>
                  </a:lnTo>
                  <a:lnTo>
                    <a:pt x="1158" y="1473"/>
                  </a:lnTo>
                  <a:lnTo>
                    <a:pt x="1157" y="1433"/>
                  </a:lnTo>
                  <a:lnTo>
                    <a:pt x="1153" y="1392"/>
                  </a:lnTo>
                  <a:lnTo>
                    <a:pt x="1147" y="1351"/>
                  </a:lnTo>
                  <a:lnTo>
                    <a:pt x="1138" y="1308"/>
                  </a:lnTo>
                  <a:lnTo>
                    <a:pt x="1132" y="1287"/>
                  </a:lnTo>
                  <a:lnTo>
                    <a:pt x="1126" y="1266"/>
                  </a:lnTo>
                  <a:lnTo>
                    <a:pt x="1118" y="1246"/>
                  </a:lnTo>
                  <a:lnTo>
                    <a:pt x="1110" y="1224"/>
                  </a:lnTo>
                  <a:lnTo>
                    <a:pt x="1101" y="1203"/>
                  </a:lnTo>
                  <a:lnTo>
                    <a:pt x="1091" y="1183"/>
                  </a:lnTo>
                  <a:lnTo>
                    <a:pt x="1081" y="1163"/>
                  </a:lnTo>
                  <a:lnTo>
                    <a:pt x="1068" y="1143"/>
                  </a:lnTo>
                  <a:lnTo>
                    <a:pt x="1056" y="1123"/>
                  </a:lnTo>
                  <a:lnTo>
                    <a:pt x="1042" y="1105"/>
                  </a:lnTo>
                  <a:lnTo>
                    <a:pt x="1028" y="1085"/>
                  </a:lnTo>
                  <a:lnTo>
                    <a:pt x="1012" y="1067"/>
                  </a:lnTo>
                  <a:lnTo>
                    <a:pt x="996" y="1049"/>
                  </a:lnTo>
                  <a:lnTo>
                    <a:pt x="978" y="1032"/>
                  </a:lnTo>
                  <a:lnTo>
                    <a:pt x="960" y="1015"/>
                  </a:lnTo>
                  <a:lnTo>
                    <a:pt x="940" y="999"/>
                  </a:lnTo>
                  <a:lnTo>
                    <a:pt x="920" y="984"/>
                  </a:lnTo>
                  <a:lnTo>
                    <a:pt x="897" y="969"/>
                  </a:lnTo>
                  <a:lnTo>
                    <a:pt x="875" y="955"/>
                  </a:lnTo>
                  <a:lnTo>
                    <a:pt x="851" y="941"/>
                  </a:lnTo>
                  <a:lnTo>
                    <a:pt x="826" y="929"/>
                  </a:lnTo>
                  <a:lnTo>
                    <a:pt x="800" y="918"/>
                  </a:lnTo>
                  <a:lnTo>
                    <a:pt x="772" y="908"/>
                  </a:lnTo>
                  <a:lnTo>
                    <a:pt x="743" y="898"/>
                  </a:lnTo>
                  <a:lnTo>
                    <a:pt x="743" y="898"/>
                  </a:lnTo>
                  <a:lnTo>
                    <a:pt x="671" y="823"/>
                  </a:lnTo>
                  <a:lnTo>
                    <a:pt x="578" y="724"/>
                  </a:lnTo>
                  <a:lnTo>
                    <a:pt x="495" y="633"/>
                  </a:lnTo>
                  <a:lnTo>
                    <a:pt x="446" y="583"/>
                  </a:lnTo>
                  <a:lnTo>
                    <a:pt x="430" y="567"/>
                  </a:lnTo>
                  <a:lnTo>
                    <a:pt x="407" y="571"/>
                  </a:lnTo>
                  <a:lnTo>
                    <a:pt x="407" y="571"/>
                  </a:lnTo>
                  <a:lnTo>
                    <a:pt x="396" y="573"/>
                  </a:lnTo>
                  <a:lnTo>
                    <a:pt x="384" y="576"/>
                  </a:lnTo>
                  <a:lnTo>
                    <a:pt x="246" y="131"/>
                  </a:lnTo>
                  <a:lnTo>
                    <a:pt x="244" y="128"/>
                  </a:lnTo>
                  <a:lnTo>
                    <a:pt x="244" y="128"/>
                  </a:lnTo>
                  <a:lnTo>
                    <a:pt x="231" y="109"/>
                  </a:lnTo>
                  <a:lnTo>
                    <a:pt x="219" y="89"/>
                  </a:lnTo>
                  <a:lnTo>
                    <a:pt x="200" y="68"/>
                  </a:lnTo>
                  <a:lnTo>
                    <a:pt x="200" y="68"/>
                  </a:lnTo>
                  <a:lnTo>
                    <a:pt x="190" y="57"/>
                  </a:lnTo>
                  <a:lnTo>
                    <a:pt x="177" y="45"/>
                  </a:lnTo>
                  <a:lnTo>
                    <a:pt x="165" y="34"/>
                  </a:lnTo>
                  <a:lnTo>
                    <a:pt x="151" y="24"/>
                  </a:lnTo>
                  <a:lnTo>
                    <a:pt x="135" y="14"/>
                  </a:lnTo>
                  <a:lnTo>
                    <a:pt x="117" y="8"/>
                  </a:lnTo>
                  <a:lnTo>
                    <a:pt x="99" y="3"/>
                  </a:lnTo>
                  <a:lnTo>
                    <a:pt x="89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64" y="2"/>
                  </a:lnTo>
                  <a:lnTo>
                    <a:pt x="50" y="4"/>
                  </a:lnTo>
                  <a:lnTo>
                    <a:pt x="36" y="8"/>
                  </a:lnTo>
                  <a:lnTo>
                    <a:pt x="24" y="14"/>
                  </a:lnTo>
                  <a:lnTo>
                    <a:pt x="0" y="27"/>
                  </a:lnTo>
                  <a:lnTo>
                    <a:pt x="0" y="53"/>
                  </a:lnTo>
                  <a:lnTo>
                    <a:pt x="0" y="789"/>
                  </a:lnTo>
                  <a:lnTo>
                    <a:pt x="0" y="789"/>
                  </a:lnTo>
                  <a:lnTo>
                    <a:pt x="2" y="829"/>
                  </a:lnTo>
                  <a:lnTo>
                    <a:pt x="6" y="870"/>
                  </a:lnTo>
                  <a:lnTo>
                    <a:pt x="14" y="921"/>
                  </a:lnTo>
                  <a:lnTo>
                    <a:pt x="19" y="950"/>
                  </a:lnTo>
                  <a:lnTo>
                    <a:pt x="25" y="979"/>
                  </a:lnTo>
                  <a:lnTo>
                    <a:pt x="32" y="1009"/>
                  </a:lnTo>
                  <a:lnTo>
                    <a:pt x="42" y="1039"/>
                  </a:lnTo>
                  <a:lnTo>
                    <a:pt x="54" y="1067"/>
                  </a:lnTo>
                  <a:lnTo>
                    <a:pt x="66" y="1096"/>
                  </a:lnTo>
                  <a:lnTo>
                    <a:pt x="80" y="1123"/>
                  </a:lnTo>
                  <a:lnTo>
                    <a:pt x="97" y="1148"/>
                  </a:lnTo>
                  <a:lnTo>
                    <a:pt x="97" y="1148"/>
                  </a:lnTo>
                  <a:lnTo>
                    <a:pt x="134" y="1193"/>
                  </a:lnTo>
                  <a:lnTo>
                    <a:pt x="186" y="1258"/>
                  </a:lnTo>
                  <a:lnTo>
                    <a:pt x="322" y="1417"/>
                  </a:lnTo>
                  <a:lnTo>
                    <a:pt x="457" y="1571"/>
                  </a:lnTo>
                  <a:lnTo>
                    <a:pt x="544" y="1670"/>
                  </a:lnTo>
                  <a:lnTo>
                    <a:pt x="544" y="1709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1" name="Freeform 12"/>
            <p:cNvSpPr>
              <a:spLocks/>
            </p:cNvSpPr>
            <p:nvPr/>
          </p:nvSpPr>
          <p:spPr bwMode="auto">
            <a:xfrm>
              <a:off x="2374900" y="1768476"/>
              <a:ext cx="366713" cy="542925"/>
            </a:xfrm>
            <a:custGeom>
              <a:avLst/>
              <a:gdLst>
                <a:gd name="T0" fmla="*/ 1107 w 1157"/>
                <a:gd name="T1" fmla="*/ 4 h 1709"/>
                <a:gd name="T2" fmla="*/ 1070 w 1157"/>
                <a:gd name="T3" fmla="*/ 2 h 1709"/>
                <a:gd name="T4" fmla="*/ 1007 w 1157"/>
                <a:gd name="T5" fmla="*/ 24 h 1709"/>
                <a:gd name="T6" fmla="*/ 957 w 1157"/>
                <a:gd name="T7" fmla="*/ 68 h 1709"/>
                <a:gd name="T8" fmla="*/ 915 w 1157"/>
                <a:gd name="T9" fmla="*/ 128 h 1709"/>
                <a:gd name="T10" fmla="*/ 762 w 1157"/>
                <a:gd name="T11" fmla="*/ 573 h 1709"/>
                <a:gd name="T12" fmla="*/ 712 w 1157"/>
                <a:gd name="T13" fmla="*/ 583 h 1709"/>
                <a:gd name="T14" fmla="*/ 415 w 1157"/>
                <a:gd name="T15" fmla="*/ 898 h 1709"/>
                <a:gd name="T16" fmla="*/ 332 w 1157"/>
                <a:gd name="T17" fmla="*/ 929 h 1709"/>
                <a:gd name="T18" fmla="*/ 239 w 1157"/>
                <a:gd name="T19" fmla="*/ 984 h 1709"/>
                <a:gd name="T20" fmla="*/ 162 w 1157"/>
                <a:gd name="T21" fmla="*/ 1049 h 1709"/>
                <a:gd name="T22" fmla="*/ 102 w 1157"/>
                <a:gd name="T23" fmla="*/ 1123 h 1709"/>
                <a:gd name="T24" fmla="*/ 56 w 1157"/>
                <a:gd name="T25" fmla="*/ 1203 h 1709"/>
                <a:gd name="T26" fmla="*/ 25 w 1157"/>
                <a:gd name="T27" fmla="*/ 1287 h 1709"/>
                <a:gd name="T28" fmla="*/ 0 w 1157"/>
                <a:gd name="T29" fmla="*/ 1433 h 1709"/>
                <a:gd name="T30" fmla="*/ 86 w 1157"/>
                <a:gd name="T31" fmla="*/ 1473 h 1709"/>
                <a:gd name="T32" fmla="*/ 97 w 1157"/>
                <a:gd name="T33" fmla="*/ 1364 h 1709"/>
                <a:gd name="T34" fmla="*/ 136 w 1157"/>
                <a:gd name="T35" fmla="*/ 1237 h 1709"/>
                <a:gd name="T36" fmla="*/ 176 w 1157"/>
                <a:gd name="T37" fmla="*/ 1170 h 1709"/>
                <a:gd name="T38" fmla="*/ 227 w 1157"/>
                <a:gd name="T39" fmla="*/ 1106 h 1709"/>
                <a:gd name="T40" fmla="*/ 295 w 1157"/>
                <a:gd name="T41" fmla="*/ 1050 h 1709"/>
                <a:gd name="T42" fmla="*/ 377 w 1157"/>
                <a:gd name="T43" fmla="*/ 1005 h 1709"/>
                <a:gd name="T44" fmla="*/ 461 w 1157"/>
                <a:gd name="T45" fmla="*/ 975 h 1709"/>
                <a:gd name="T46" fmla="*/ 601 w 1157"/>
                <a:gd name="T47" fmla="*/ 828 h 1709"/>
                <a:gd name="T48" fmla="*/ 760 w 1157"/>
                <a:gd name="T49" fmla="*/ 678 h 1709"/>
                <a:gd name="T50" fmla="*/ 796 w 1157"/>
                <a:gd name="T51" fmla="*/ 698 h 1709"/>
                <a:gd name="T52" fmla="*/ 817 w 1157"/>
                <a:gd name="T53" fmla="*/ 732 h 1709"/>
                <a:gd name="T54" fmla="*/ 828 w 1157"/>
                <a:gd name="T55" fmla="*/ 789 h 1709"/>
                <a:gd name="T56" fmla="*/ 828 w 1157"/>
                <a:gd name="T57" fmla="*/ 840 h 1709"/>
                <a:gd name="T58" fmla="*/ 812 w 1157"/>
                <a:gd name="T59" fmla="*/ 891 h 1709"/>
                <a:gd name="T60" fmla="*/ 516 w 1157"/>
                <a:gd name="T61" fmla="*/ 1242 h 1709"/>
                <a:gd name="T62" fmla="*/ 828 w 1157"/>
                <a:gd name="T63" fmla="*/ 944 h 1709"/>
                <a:gd name="T64" fmla="*/ 863 w 1157"/>
                <a:gd name="T65" fmla="*/ 879 h 1709"/>
                <a:gd name="T66" fmla="*/ 873 w 1157"/>
                <a:gd name="T67" fmla="*/ 813 h 1709"/>
                <a:gd name="T68" fmla="*/ 863 w 1157"/>
                <a:gd name="T69" fmla="*/ 737 h 1709"/>
                <a:gd name="T70" fmla="*/ 848 w 1157"/>
                <a:gd name="T71" fmla="*/ 695 h 1709"/>
                <a:gd name="T72" fmla="*/ 835 w 1157"/>
                <a:gd name="T73" fmla="*/ 673 h 1709"/>
                <a:gd name="T74" fmla="*/ 998 w 1157"/>
                <a:gd name="T75" fmla="*/ 156 h 1709"/>
                <a:gd name="T76" fmla="*/ 1038 w 1157"/>
                <a:gd name="T77" fmla="*/ 109 h 1709"/>
                <a:gd name="T78" fmla="*/ 1063 w 1157"/>
                <a:gd name="T79" fmla="*/ 91 h 1709"/>
                <a:gd name="T80" fmla="*/ 1068 w 1157"/>
                <a:gd name="T81" fmla="*/ 823 h 1709"/>
                <a:gd name="T82" fmla="*/ 1053 w 1157"/>
                <a:gd name="T83" fmla="*/ 932 h 1709"/>
                <a:gd name="T84" fmla="*/ 1025 w 1157"/>
                <a:gd name="T85" fmla="*/ 1035 h 1709"/>
                <a:gd name="T86" fmla="*/ 991 w 1157"/>
                <a:gd name="T87" fmla="*/ 1097 h 1709"/>
                <a:gd name="T88" fmla="*/ 738 w 1157"/>
                <a:gd name="T89" fmla="*/ 1395 h 1709"/>
                <a:gd name="T90" fmla="*/ 527 w 1157"/>
                <a:gd name="T91" fmla="*/ 1709 h 1709"/>
                <a:gd name="T92" fmla="*/ 701 w 1157"/>
                <a:gd name="T93" fmla="*/ 1571 h 1709"/>
                <a:gd name="T94" fmla="*/ 1061 w 1157"/>
                <a:gd name="T95" fmla="*/ 1148 h 1709"/>
                <a:gd name="T96" fmla="*/ 1105 w 1157"/>
                <a:gd name="T97" fmla="*/ 1067 h 1709"/>
                <a:gd name="T98" fmla="*/ 1140 w 1157"/>
                <a:gd name="T99" fmla="*/ 950 h 1709"/>
                <a:gd name="T100" fmla="*/ 1157 w 1157"/>
                <a:gd name="T101" fmla="*/ 790 h 1709"/>
                <a:gd name="T102" fmla="*/ 1135 w 1157"/>
                <a:gd name="T103" fmla="*/ 14 h 1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157" h="1709">
                  <a:moveTo>
                    <a:pt x="1135" y="14"/>
                  </a:moveTo>
                  <a:lnTo>
                    <a:pt x="1135" y="14"/>
                  </a:lnTo>
                  <a:lnTo>
                    <a:pt x="1121" y="8"/>
                  </a:lnTo>
                  <a:lnTo>
                    <a:pt x="1107" y="4"/>
                  </a:lnTo>
                  <a:lnTo>
                    <a:pt x="1093" y="2"/>
                  </a:lnTo>
                  <a:lnTo>
                    <a:pt x="1081" y="0"/>
                  </a:lnTo>
                  <a:lnTo>
                    <a:pt x="1081" y="0"/>
                  </a:lnTo>
                  <a:lnTo>
                    <a:pt x="1070" y="2"/>
                  </a:lnTo>
                  <a:lnTo>
                    <a:pt x="1060" y="3"/>
                  </a:lnTo>
                  <a:lnTo>
                    <a:pt x="1041" y="8"/>
                  </a:lnTo>
                  <a:lnTo>
                    <a:pt x="1023" y="14"/>
                  </a:lnTo>
                  <a:lnTo>
                    <a:pt x="1007" y="24"/>
                  </a:lnTo>
                  <a:lnTo>
                    <a:pt x="993" y="34"/>
                  </a:lnTo>
                  <a:lnTo>
                    <a:pt x="980" y="45"/>
                  </a:lnTo>
                  <a:lnTo>
                    <a:pt x="968" y="57"/>
                  </a:lnTo>
                  <a:lnTo>
                    <a:pt x="957" y="68"/>
                  </a:lnTo>
                  <a:lnTo>
                    <a:pt x="957" y="68"/>
                  </a:lnTo>
                  <a:lnTo>
                    <a:pt x="940" y="90"/>
                  </a:lnTo>
                  <a:lnTo>
                    <a:pt x="926" y="109"/>
                  </a:lnTo>
                  <a:lnTo>
                    <a:pt x="915" y="128"/>
                  </a:lnTo>
                  <a:lnTo>
                    <a:pt x="912" y="131"/>
                  </a:lnTo>
                  <a:lnTo>
                    <a:pt x="773" y="576"/>
                  </a:lnTo>
                  <a:lnTo>
                    <a:pt x="773" y="576"/>
                  </a:lnTo>
                  <a:lnTo>
                    <a:pt x="762" y="573"/>
                  </a:lnTo>
                  <a:lnTo>
                    <a:pt x="750" y="571"/>
                  </a:lnTo>
                  <a:lnTo>
                    <a:pt x="728" y="567"/>
                  </a:lnTo>
                  <a:lnTo>
                    <a:pt x="712" y="583"/>
                  </a:lnTo>
                  <a:lnTo>
                    <a:pt x="712" y="583"/>
                  </a:lnTo>
                  <a:lnTo>
                    <a:pt x="663" y="634"/>
                  </a:lnTo>
                  <a:lnTo>
                    <a:pt x="579" y="724"/>
                  </a:lnTo>
                  <a:lnTo>
                    <a:pt x="486" y="823"/>
                  </a:lnTo>
                  <a:lnTo>
                    <a:pt x="415" y="898"/>
                  </a:lnTo>
                  <a:lnTo>
                    <a:pt x="415" y="898"/>
                  </a:lnTo>
                  <a:lnTo>
                    <a:pt x="386" y="908"/>
                  </a:lnTo>
                  <a:lnTo>
                    <a:pt x="359" y="918"/>
                  </a:lnTo>
                  <a:lnTo>
                    <a:pt x="332" y="929"/>
                  </a:lnTo>
                  <a:lnTo>
                    <a:pt x="307" y="941"/>
                  </a:lnTo>
                  <a:lnTo>
                    <a:pt x="284" y="955"/>
                  </a:lnTo>
                  <a:lnTo>
                    <a:pt x="260" y="969"/>
                  </a:lnTo>
                  <a:lnTo>
                    <a:pt x="239" y="984"/>
                  </a:lnTo>
                  <a:lnTo>
                    <a:pt x="217" y="999"/>
                  </a:lnTo>
                  <a:lnTo>
                    <a:pt x="199" y="1015"/>
                  </a:lnTo>
                  <a:lnTo>
                    <a:pt x="180" y="1032"/>
                  </a:lnTo>
                  <a:lnTo>
                    <a:pt x="162" y="1049"/>
                  </a:lnTo>
                  <a:lnTo>
                    <a:pt x="145" y="1067"/>
                  </a:lnTo>
                  <a:lnTo>
                    <a:pt x="130" y="1085"/>
                  </a:lnTo>
                  <a:lnTo>
                    <a:pt x="115" y="1105"/>
                  </a:lnTo>
                  <a:lnTo>
                    <a:pt x="102" y="1123"/>
                  </a:lnTo>
                  <a:lnTo>
                    <a:pt x="89" y="1143"/>
                  </a:lnTo>
                  <a:lnTo>
                    <a:pt x="77" y="1163"/>
                  </a:lnTo>
                  <a:lnTo>
                    <a:pt x="66" y="1183"/>
                  </a:lnTo>
                  <a:lnTo>
                    <a:pt x="56" y="1203"/>
                  </a:lnTo>
                  <a:lnTo>
                    <a:pt x="47" y="1224"/>
                  </a:lnTo>
                  <a:lnTo>
                    <a:pt x="40" y="1246"/>
                  </a:lnTo>
                  <a:lnTo>
                    <a:pt x="32" y="1266"/>
                  </a:lnTo>
                  <a:lnTo>
                    <a:pt x="25" y="1287"/>
                  </a:lnTo>
                  <a:lnTo>
                    <a:pt x="20" y="1308"/>
                  </a:lnTo>
                  <a:lnTo>
                    <a:pt x="10" y="1351"/>
                  </a:lnTo>
                  <a:lnTo>
                    <a:pt x="4" y="1392"/>
                  </a:lnTo>
                  <a:lnTo>
                    <a:pt x="0" y="1433"/>
                  </a:lnTo>
                  <a:lnTo>
                    <a:pt x="0" y="1473"/>
                  </a:lnTo>
                  <a:lnTo>
                    <a:pt x="0" y="1709"/>
                  </a:lnTo>
                  <a:lnTo>
                    <a:pt x="86" y="1709"/>
                  </a:lnTo>
                  <a:lnTo>
                    <a:pt x="86" y="1473"/>
                  </a:lnTo>
                  <a:lnTo>
                    <a:pt x="86" y="1473"/>
                  </a:lnTo>
                  <a:lnTo>
                    <a:pt x="87" y="1438"/>
                  </a:lnTo>
                  <a:lnTo>
                    <a:pt x="91" y="1400"/>
                  </a:lnTo>
                  <a:lnTo>
                    <a:pt x="97" y="1364"/>
                  </a:lnTo>
                  <a:lnTo>
                    <a:pt x="105" y="1328"/>
                  </a:lnTo>
                  <a:lnTo>
                    <a:pt x="116" y="1291"/>
                  </a:lnTo>
                  <a:lnTo>
                    <a:pt x="129" y="1256"/>
                  </a:lnTo>
                  <a:lnTo>
                    <a:pt x="136" y="1237"/>
                  </a:lnTo>
                  <a:lnTo>
                    <a:pt x="145" y="1219"/>
                  </a:lnTo>
                  <a:lnTo>
                    <a:pt x="155" y="1203"/>
                  </a:lnTo>
                  <a:lnTo>
                    <a:pt x="165" y="1186"/>
                  </a:lnTo>
                  <a:lnTo>
                    <a:pt x="176" y="1170"/>
                  </a:lnTo>
                  <a:lnTo>
                    <a:pt x="187" y="1152"/>
                  </a:lnTo>
                  <a:lnTo>
                    <a:pt x="200" y="1137"/>
                  </a:lnTo>
                  <a:lnTo>
                    <a:pt x="214" y="1121"/>
                  </a:lnTo>
                  <a:lnTo>
                    <a:pt x="227" y="1106"/>
                  </a:lnTo>
                  <a:lnTo>
                    <a:pt x="242" y="1091"/>
                  </a:lnTo>
                  <a:lnTo>
                    <a:pt x="259" y="1077"/>
                  </a:lnTo>
                  <a:lnTo>
                    <a:pt x="276" y="1064"/>
                  </a:lnTo>
                  <a:lnTo>
                    <a:pt x="295" y="1050"/>
                  </a:lnTo>
                  <a:lnTo>
                    <a:pt x="314" y="1037"/>
                  </a:lnTo>
                  <a:lnTo>
                    <a:pt x="334" y="1026"/>
                  </a:lnTo>
                  <a:lnTo>
                    <a:pt x="355" y="1015"/>
                  </a:lnTo>
                  <a:lnTo>
                    <a:pt x="377" y="1005"/>
                  </a:lnTo>
                  <a:lnTo>
                    <a:pt x="400" y="995"/>
                  </a:lnTo>
                  <a:lnTo>
                    <a:pt x="425" y="986"/>
                  </a:lnTo>
                  <a:lnTo>
                    <a:pt x="450" y="977"/>
                  </a:lnTo>
                  <a:lnTo>
                    <a:pt x="461" y="975"/>
                  </a:lnTo>
                  <a:lnTo>
                    <a:pt x="469" y="966"/>
                  </a:lnTo>
                  <a:lnTo>
                    <a:pt x="469" y="966"/>
                  </a:lnTo>
                  <a:lnTo>
                    <a:pt x="525" y="909"/>
                  </a:lnTo>
                  <a:lnTo>
                    <a:pt x="601" y="828"/>
                  </a:lnTo>
                  <a:lnTo>
                    <a:pt x="746" y="673"/>
                  </a:lnTo>
                  <a:lnTo>
                    <a:pt x="746" y="673"/>
                  </a:lnTo>
                  <a:lnTo>
                    <a:pt x="760" y="678"/>
                  </a:lnTo>
                  <a:lnTo>
                    <a:pt x="760" y="678"/>
                  </a:lnTo>
                  <a:lnTo>
                    <a:pt x="770" y="682"/>
                  </a:lnTo>
                  <a:lnTo>
                    <a:pt x="778" y="687"/>
                  </a:lnTo>
                  <a:lnTo>
                    <a:pt x="787" y="692"/>
                  </a:lnTo>
                  <a:lnTo>
                    <a:pt x="796" y="698"/>
                  </a:lnTo>
                  <a:lnTo>
                    <a:pt x="802" y="705"/>
                  </a:lnTo>
                  <a:lnTo>
                    <a:pt x="808" y="713"/>
                  </a:lnTo>
                  <a:lnTo>
                    <a:pt x="813" y="722"/>
                  </a:lnTo>
                  <a:lnTo>
                    <a:pt x="817" y="732"/>
                  </a:lnTo>
                  <a:lnTo>
                    <a:pt x="817" y="732"/>
                  </a:lnTo>
                  <a:lnTo>
                    <a:pt x="821" y="747"/>
                  </a:lnTo>
                  <a:lnTo>
                    <a:pt x="826" y="767"/>
                  </a:lnTo>
                  <a:lnTo>
                    <a:pt x="828" y="789"/>
                  </a:lnTo>
                  <a:lnTo>
                    <a:pt x="830" y="813"/>
                  </a:lnTo>
                  <a:lnTo>
                    <a:pt x="830" y="813"/>
                  </a:lnTo>
                  <a:lnTo>
                    <a:pt x="830" y="826"/>
                  </a:lnTo>
                  <a:lnTo>
                    <a:pt x="828" y="840"/>
                  </a:lnTo>
                  <a:lnTo>
                    <a:pt x="826" y="854"/>
                  </a:lnTo>
                  <a:lnTo>
                    <a:pt x="822" y="866"/>
                  </a:lnTo>
                  <a:lnTo>
                    <a:pt x="818" y="879"/>
                  </a:lnTo>
                  <a:lnTo>
                    <a:pt x="812" y="891"/>
                  </a:lnTo>
                  <a:lnTo>
                    <a:pt x="805" y="904"/>
                  </a:lnTo>
                  <a:lnTo>
                    <a:pt x="796" y="915"/>
                  </a:lnTo>
                  <a:lnTo>
                    <a:pt x="796" y="915"/>
                  </a:lnTo>
                  <a:lnTo>
                    <a:pt x="516" y="1242"/>
                  </a:lnTo>
                  <a:lnTo>
                    <a:pt x="549" y="1271"/>
                  </a:lnTo>
                  <a:lnTo>
                    <a:pt x="549" y="1271"/>
                  </a:lnTo>
                  <a:lnTo>
                    <a:pt x="828" y="944"/>
                  </a:lnTo>
                  <a:lnTo>
                    <a:pt x="828" y="944"/>
                  </a:lnTo>
                  <a:lnTo>
                    <a:pt x="841" y="929"/>
                  </a:lnTo>
                  <a:lnTo>
                    <a:pt x="851" y="913"/>
                  </a:lnTo>
                  <a:lnTo>
                    <a:pt x="858" y="896"/>
                  </a:lnTo>
                  <a:lnTo>
                    <a:pt x="863" y="879"/>
                  </a:lnTo>
                  <a:lnTo>
                    <a:pt x="868" y="863"/>
                  </a:lnTo>
                  <a:lnTo>
                    <a:pt x="871" y="845"/>
                  </a:lnTo>
                  <a:lnTo>
                    <a:pt x="872" y="829"/>
                  </a:lnTo>
                  <a:lnTo>
                    <a:pt x="873" y="813"/>
                  </a:lnTo>
                  <a:lnTo>
                    <a:pt x="873" y="813"/>
                  </a:lnTo>
                  <a:lnTo>
                    <a:pt x="872" y="785"/>
                  </a:lnTo>
                  <a:lnTo>
                    <a:pt x="868" y="759"/>
                  </a:lnTo>
                  <a:lnTo>
                    <a:pt x="863" y="737"/>
                  </a:lnTo>
                  <a:lnTo>
                    <a:pt x="858" y="719"/>
                  </a:lnTo>
                  <a:lnTo>
                    <a:pt x="858" y="719"/>
                  </a:lnTo>
                  <a:lnTo>
                    <a:pt x="853" y="707"/>
                  </a:lnTo>
                  <a:lnTo>
                    <a:pt x="848" y="695"/>
                  </a:lnTo>
                  <a:lnTo>
                    <a:pt x="841" y="685"/>
                  </a:lnTo>
                  <a:lnTo>
                    <a:pt x="833" y="675"/>
                  </a:lnTo>
                  <a:lnTo>
                    <a:pt x="833" y="675"/>
                  </a:lnTo>
                  <a:lnTo>
                    <a:pt x="835" y="673"/>
                  </a:lnTo>
                  <a:lnTo>
                    <a:pt x="992" y="166"/>
                  </a:lnTo>
                  <a:lnTo>
                    <a:pt x="992" y="166"/>
                  </a:lnTo>
                  <a:lnTo>
                    <a:pt x="998" y="156"/>
                  </a:lnTo>
                  <a:lnTo>
                    <a:pt x="998" y="156"/>
                  </a:lnTo>
                  <a:lnTo>
                    <a:pt x="1006" y="146"/>
                  </a:lnTo>
                  <a:lnTo>
                    <a:pt x="1016" y="134"/>
                  </a:lnTo>
                  <a:lnTo>
                    <a:pt x="1027" y="121"/>
                  </a:lnTo>
                  <a:lnTo>
                    <a:pt x="1038" y="109"/>
                  </a:lnTo>
                  <a:lnTo>
                    <a:pt x="1038" y="109"/>
                  </a:lnTo>
                  <a:lnTo>
                    <a:pt x="1047" y="101"/>
                  </a:lnTo>
                  <a:lnTo>
                    <a:pt x="1056" y="96"/>
                  </a:lnTo>
                  <a:lnTo>
                    <a:pt x="1063" y="91"/>
                  </a:lnTo>
                  <a:lnTo>
                    <a:pt x="1071" y="89"/>
                  </a:lnTo>
                  <a:lnTo>
                    <a:pt x="1071" y="789"/>
                  </a:lnTo>
                  <a:lnTo>
                    <a:pt x="1071" y="789"/>
                  </a:lnTo>
                  <a:lnTo>
                    <a:pt x="1068" y="823"/>
                  </a:lnTo>
                  <a:lnTo>
                    <a:pt x="1065" y="860"/>
                  </a:lnTo>
                  <a:lnTo>
                    <a:pt x="1058" y="908"/>
                  </a:lnTo>
                  <a:lnTo>
                    <a:pt x="1058" y="908"/>
                  </a:lnTo>
                  <a:lnTo>
                    <a:pt x="1053" y="932"/>
                  </a:lnTo>
                  <a:lnTo>
                    <a:pt x="1048" y="959"/>
                  </a:lnTo>
                  <a:lnTo>
                    <a:pt x="1041" y="985"/>
                  </a:lnTo>
                  <a:lnTo>
                    <a:pt x="1033" y="1011"/>
                  </a:lnTo>
                  <a:lnTo>
                    <a:pt x="1025" y="1035"/>
                  </a:lnTo>
                  <a:lnTo>
                    <a:pt x="1015" y="1059"/>
                  </a:lnTo>
                  <a:lnTo>
                    <a:pt x="1003" y="1078"/>
                  </a:lnTo>
                  <a:lnTo>
                    <a:pt x="991" y="1097"/>
                  </a:lnTo>
                  <a:lnTo>
                    <a:pt x="991" y="1097"/>
                  </a:lnTo>
                  <a:lnTo>
                    <a:pt x="952" y="1145"/>
                  </a:lnTo>
                  <a:lnTo>
                    <a:pt x="892" y="1217"/>
                  </a:lnTo>
                  <a:lnTo>
                    <a:pt x="738" y="1395"/>
                  </a:lnTo>
                  <a:lnTo>
                    <a:pt x="738" y="1395"/>
                  </a:lnTo>
                  <a:lnTo>
                    <a:pt x="598" y="1555"/>
                  </a:lnTo>
                  <a:lnTo>
                    <a:pt x="537" y="1625"/>
                  </a:lnTo>
                  <a:lnTo>
                    <a:pt x="527" y="1638"/>
                  </a:lnTo>
                  <a:lnTo>
                    <a:pt x="527" y="1709"/>
                  </a:lnTo>
                  <a:lnTo>
                    <a:pt x="613" y="1709"/>
                  </a:lnTo>
                  <a:lnTo>
                    <a:pt x="613" y="1670"/>
                  </a:lnTo>
                  <a:lnTo>
                    <a:pt x="613" y="1670"/>
                  </a:lnTo>
                  <a:lnTo>
                    <a:pt x="701" y="1571"/>
                  </a:lnTo>
                  <a:lnTo>
                    <a:pt x="836" y="1417"/>
                  </a:lnTo>
                  <a:lnTo>
                    <a:pt x="971" y="1258"/>
                  </a:lnTo>
                  <a:lnTo>
                    <a:pt x="1025" y="1193"/>
                  </a:lnTo>
                  <a:lnTo>
                    <a:pt x="1061" y="1148"/>
                  </a:lnTo>
                  <a:lnTo>
                    <a:pt x="1061" y="1148"/>
                  </a:lnTo>
                  <a:lnTo>
                    <a:pt x="1077" y="1123"/>
                  </a:lnTo>
                  <a:lnTo>
                    <a:pt x="1092" y="1096"/>
                  </a:lnTo>
                  <a:lnTo>
                    <a:pt x="1105" y="1067"/>
                  </a:lnTo>
                  <a:lnTo>
                    <a:pt x="1116" y="1039"/>
                  </a:lnTo>
                  <a:lnTo>
                    <a:pt x="1125" y="1009"/>
                  </a:lnTo>
                  <a:lnTo>
                    <a:pt x="1132" y="979"/>
                  </a:lnTo>
                  <a:lnTo>
                    <a:pt x="1140" y="950"/>
                  </a:lnTo>
                  <a:lnTo>
                    <a:pt x="1145" y="921"/>
                  </a:lnTo>
                  <a:lnTo>
                    <a:pt x="1151" y="870"/>
                  </a:lnTo>
                  <a:lnTo>
                    <a:pt x="1155" y="829"/>
                  </a:lnTo>
                  <a:lnTo>
                    <a:pt x="1157" y="790"/>
                  </a:lnTo>
                  <a:lnTo>
                    <a:pt x="1157" y="790"/>
                  </a:lnTo>
                  <a:lnTo>
                    <a:pt x="1157" y="53"/>
                  </a:lnTo>
                  <a:lnTo>
                    <a:pt x="1157" y="27"/>
                  </a:lnTo>
                  <a:lnTo>
                    <a:pt x="1135" y="14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52" name="TextBox 51"/>
          <p:cNvSpPr txBox="1"/>
          <p:nvPr/>
        </p:nvSpPr>
        <p:spPr>
          <a:xfrm>
            <a:off x="3956292" y="3701968"/>
            <a:ext cx="18173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rgbClr val="0E80A5"/>
                </a:solidFill>
                <a:latin typeface="Trebuchet MS" panose="020B0603020202020204" pitchFamily="34" charset="0"/>
              </a:rPr>
              <a:t>креативность и открытость 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3953666" y="4354806"/>
            <a:ext cx="18173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rgbClr val="0E80A5"/>
                </a:solidFill>
                <a:latin typeface="Trebuchet MS" panose="020B0603020202020204" pitchFamily="34" charset="0"/>
              </a:rPr>
              <a:t>социальная активность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3953666" y="5003002"/>
            <a:ext cx="18173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rgbClr val="0E80A5"/>
                </a:solidFill>
                <a:latin typeface="Trebuchet MS" panose="020B0603020202020204" pitchFamily="34" charset="0"/>
              </a:rPr>
              <a:t>информационная грамотность </a:t>
            </a:r>
          </a:p>
        </p:txBody>
      </p:sp>
      <p:sp>
        <p:nvSpPr>
          <p:cNvPr id="63" name="Freeform 24"/>
          <p:cNvSpPr>
            <a:spLocks noChangeAspect="1" noEditPoints="1"/>
          </p:cNvSpPr>
          <p:nvPr/>
        </p:nvSpPr>
        <p:spPr bwMode="auto">
          <a:xfrm>
            <a:off x="542953" y="4450072"/>
            <a:ext cx="451010" cy="367841"/>
          </a:xfrm>
          <a:custGeom>
            <a:avLst/>
            <a:gdLst>
              <a:gd name="T0" fmla="*/ 2147483647 w 6736"/>
              <a:gd name="T1" fmla="*/ 2147483647 h 4605"/>
              <a:gd name="T2" fmla="*/ 2147483647 w 6736"/>
              <a:gd name="T3" fmla="*/ 2147483647 h 4605"/>
              <a:gd name="T4" fmla="*/ 2147483647 w 6736"/>
              <a:gd name="T5" fmla="*/ 2147483647 h 4605"/>
              <a:gd name="T6" fmla="*/ 0 w 6736"/>
              <a:gd name="T7" fmla="*/ 2147483647 h 4605"/>
              <a:gd name="T8" fmla="*/ 2147483647 w 6736"/>
              <a:gd name="T9" fmla="*/ 2147483647 h 4605"/>
              <a:gd name="T10" fmla="*/ 2147483647 w 6736"/>
              <a:gd name="T11" fmla="*/ 2147483647 h 4605"/>
              <a:gd name="T12" fmla="*/ 2147483647 w 6736"/>
              <a:gd name="T13" fmla="*/ 2147483647 h 4605"/>
              <a:gd name="T14" fmla="*/ 2147483647 w 6736"/>
              <a:gd name="T15" fmla="*/ 2147483647 h 4605"/>
              <a:gd name="T16" fmla="*/ 2147483647 w 6736"/>
              <a:gd name="T17" fmla="*/ 2147483647 h 4605"/>
              <a:gd name="T18" fmla="*/ 2147483647 w 6736"/>
              <a:gd name="T19" fmla="*/ 2147483647 h 4605"/>
              <a:gd name="T20" fmla="*/ 2147483647 w 6736"/>
              <a:gd name="T21" fmla="*/ 2147483647 h 4605"/>
              <a:gd name="T22" fmla="*/ 2147483647 w 6736"/>
              <a:gd name="T23" fmla="*/ 2147483647 h 4605"/>
              <a:gd name="T24" fmla="*/ 2147483647 w 6736"/>
              <a:gd name="T25" fmla="*/ 2147483647 h 4605"/>
              <a:gd name="T26" fmla="*/ 2147483647 w 6736"/>
              <a:gd name="T27" fmla="*/ 2147483647 h 4605"/>
              <a:gd name="T28" fmla="*/ 2147483647 w 6736"/>
              <a:gd name="T29" fmla="*/ 2147483647 h 4605"/>
              <a:gd name="T30" fmla="*/ 2147483647 w 6736"/>
              <a:gd name="T31" fmla="*/ 2147483647 h 4605"/>
              <a:gd name="T32" fmla="*/ 2147483647 w 6736"/>
              <a:gd name="T33" fmla="*/ 2147483647 h 4605"/>
              <a:gd name="T34" fmla="*/ 2147483647 w 6736"/>
              <a:gd name="T35" fmla="*/ 2147483647 h 4605"/>
              <a:gd name="T36" fmla="*/ 2147483647 w 6736"/>
              <a:gd name="T37" fmla="*/ 2147483647 h 4605"/>
              <a:gd name="T38" fmla="*/ 2147483647 w 6736"/>
              <a:gd name="T39" fmla="*/ 2147483647 h 4605"/>
              <a:gd name="T40" fmla="*/ 2147483647 w 6736"/>
              <a:gd name="T41" fmla="*/ 2147483647 h 4605"/>
              <a:gd name="T42" fmla="*/ 2147483647 w 6736"/>
              <a:gd name="T43" fmla="*/ 2147483647 h 4605"/>
              <a:gd name="T44" fmla="*/ 2147483647 w 6736"/>
              <a:gd name="T45" fmla="*/ 2147483647 h 4605"/>
              <a:gd name="T46" fmla="*/ 2147483647 w 6736"/>
              <a:gd name="T47" fmla="*/ 2147483647 h 4605"/>
              <a:gd name="T48" fmla="*/ 2147483647 w 6736"/>
              <a:gd name="T49" fmla="*/ 2147483647 h 4605"/>
              <a:gd name="T50" fmla="*/ 2147483647 w 6736"/>
              <a:gd name="T51" fmla="*/ 2147483647 h 4605"/>
              <a:gd name="T52" fmla="*/ 2147483647 w 6736"/>
              <a:gd name="T53" fmla="*/ 2147483647 h 4605"/>
              <a:gd name="T54" fmla="*/ 2147483647 w 6736"/>
              <a:gd name="T55" fmla="*/ 2147483647 h 4605"/>
              <a:gd name="T56" fmla="*/ 2147483647 w 6736"/>
              <a:gd name="T57" fmla="*/ 2147483647 h 4605"/>
              <a:gd name="T58" fmla="*/ 2147483647 w 6736"/>
              <a:gd name="T59" fmla="*/ 2147483647 h 4605"/>
              <a:gd name="T60" fmla="*/ 2147483647 w 6736"/>
              <a:gd name="T61" fmla="*/ 2147483647 h 4605"/>
              <a:gd name="T62" fmla="*/ 2147483647 w 6736"/>
              <a:gd name="T63" fmla="*/ 2147483647 h 4605"/>
              <a:gd name="T64" fmla="*/ 2147483647 w 6736"/>
              <a:gd name="T65" fmla="*/ 2147483647 h 4605"/>
              <a:gd name="T66" fmla="*/ 2147483647 w 6736"/>
              <a:gd name="T67" fmla="*/ 2147483647 h 4605"/>
              <a:gd name="T68" fmla="*/ 2147483647 w 6736"/>
              <a:gd name="T69" fmla="*/ 2147483647 h 4605"/>
              <a:gd name="T70" fmla="*/ 2147483647 w 6736"/>
              <a:gd name="T71" fmla="*/ 2147483647 h 4605"/>
              <a:gd name="T72" fmla="*/ 2147483647 w 6736"/>
              <a:gd name="T73" fmla="*/ 2147483647 h 4605"/>
              <a:gd name="T74" fmla="*/ 2147483647 w 6736"/>
              <a:gd name="T75" fmla="*/ 2147483647 h 4605"/>
              <a:gd name="T76" fmla="*/ 2147483647 w 6736"/>
              <a:gd name="T77" fmla="*/ 2147483647 h 4605"/>
              <a:gd name="T78" fmla="*/ 2147483647 w 6736"/>
              <a:gd name="T79" fmla="*/ 2147483647 h 4605"/>
              <a:gd name="T80" fmla="*/ 2147483647 w 6736"/>
              <a:gd name="T81" fmla="*/ 2147483647 h 4605"/>
              <a:gd name="T82" fmla="*/ 2147483647 w 6736"/>
              <a:gd name="T83" fmla="*/ 2147483647 h 4605"/>
              <a:gd name="T84" fmla="*/ 2147483647 w 6736"/>
              <a:gd name="T85" fmla="*/ 2147483647 h 4605"/>
              <a:gd name="T86" fmla="*/ 2147483647 w 6736"/>
              <a:gd name="T87" fmla="*/ 2147483647 h 4605"/>
              <a:gd name="T88" fmla="*/ 2147483647 w 6736"/>
              <a:gd name="T89" fmla="*/ 2147483647 h 4605"/>
              <a:gd name="T90" fmla="*/ 2147483647 w 6736"/>
              <a:gd name="T91" fmla="*/ 2147483647 h 4605"/>
              <a:gd name="T92" fmla="*/ 2147483647 w 6736"/>
              <a:gd name="T93" fmla="*/ 2147483647 h 4605"/>
              <a:gd name="T94" fmla="*/ 2147483647 w 6736"/>
              <a:gd name="T95" fmla="*/ 2147483647 h 4605"/>
              <a:gd name="T96" fmla="*/ 2147483647 w 6736"/>
              <a:gd name="T97" fmla="*/ 2147483647 h 4605"/>
              <a:gd name="T98" fmla="*/ 2147483647 w 6736"/>
              <a:gd name="T99" fmla="*/ 2147483647 h 4605"/>
              <a:gd name="T100" fmla="*/ 2147483647 w 6736"/>
              <a:gd name="T101" fmla="*/ 2147483647 h 4605"/>
              <a:gd name="T102" fmla="*/ 2147483647 w 6736"/>
              <a:gd name="T103" fmla="*/ 2147483647 h 4605"/>
              <a:gd name="T104" fmla="*/ 2147483647 w 6736"/>
              <a:gd name="T105" fmla="*/ 2147483647 h 4605"/>
              <a:gd name="T106" fmla="*/ 2147483647 w 6736"/>
              <a:gd name="T107" fmla="*/ 2147483647 h 4605"/>
              <a:gd name="T108" fmla="*/ 2147483647 w 6736"/>
              <a:gd name="T109" fmla="*/ 2147483647 h 4605"/>
              <a:gd name="T110" fmla="*/ 2147483647 w 6736"/>
              <a:gd name="T111" fmla="*/ 2147483647 h 4605"/>
              <a:gd name="T112" fmla="*/ 2147483647 w 6736"/>
              <a:gd name="T113" fmla="*/ 2147483647 h 4605"/>
              <a:gd name="T114" fmla="*/ 2147483647 w 6736"/>
              <a:gd name="T115" fmla="*/ 2147483647 h 4605"/>
              <a:gd name="T116" fmla="*/ 2147483647 w 6736"/>
              <a:gd name="T117" fmla="*/ 2147483647 h 4605"/>
              <a:gd name="T118" fmla="*/ 2147483647 w 6736"/>
              <a:gd name="T119" fmla="*/ 0 h 4605"/>
              <a:gd name="T120" fmla="*/ 2147483647 w 6736"/>
              <a:gd name="T121" fmla="*/ 2147483647 h 4605"/>
              <a:gd name="T122" fmla="*/ 2147483647 w 6736"/>
              <a:gd name="T123" fmla="*/ 2147483647 h 460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6736"/>
              <a:gd name="T187" fmla="*/ 0 h 4605"/>
              <a:gd name="T188" fmla="*/ 6736 w 6736"/>
              <a:gd name="T189" fmla="*/ 4605 h 4605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6736" h="4605">
                <a:moveTo>
                  <a:pt x="0" y="173"/>
                </a:moveTo>
                <a:lnTo>
                  <a:pt x="0" y="173"/>
                </a:lnTo>
                <a:lnTo>
                  <a:pt x="2" y="155"/>
                </a:lnTo>
                <a:lnTo>
                  <a:pt x="7" y="138"/>
                </a:lnTo>
                <a:lnTo>
                  <a:pt x="14" y="119"/>
                </a:lnTo>
                <a:lnTo>
                  <a:pt x="24" y="102"/>
                </a:lnTo>
                <a:lnTo>
                  <a:pt x="36" y="83"/>
                </a:lnTo>
                <a:lnTo>
                  <a:pt x="52" y="66"/>
                </a:lnTo>
                <a:lnTo>
                  <a:pt x="69" y="48"/>
                </a:lnTo>
                <a:lnTo>
                  <a:pt x="90" y="35"/>
                </a:lnTo>
                <a:lnTo>
                  <a:pt x="111" y="21"/>
                </a:lnTo>
                <a:lnTo>
                  <a:pt x="135" y="12"/>
                </a:lnTo>
                <a:lnTo>
                  <a:pt x="161" y="3"/>
                </a:lnTo>
                <a:lnTo>
                  <a:pt x="188" y="0"/>
                </a:lnTo>
                <a:lnTo>
                  <a:pt x="218" y="0"/>
                </a:lnTo>
                <a:lnTo>
                  <a:pt x="233" y="2"/>
                </a:lnTo>
                <a:lnTo>
                  <a:pt x="250" y="3"/>
                </a:lnTo>
                <a:lnTo>
                  <a:pt x="266" y="7"/>
                </a:lnTo>
                <a:lnTo>
                  <a:pt x="281" y="12"/>
                </a:lnTo>
                <a:lnTo>
                  <a:pt x="299" y="19"/>
                </a:lnTo>
                <a:lnTo>
                  <a:pt x="316" y="26"/>
                </a:lnTo>
                <a:lnTo>
                  <a:pt x="1539" y="615"/>
                </a:lnTo>
                <a:lnTo>
                  <a:pt x="340" y="3075"/>
                </a:lnTo>
                <a:lnTo>
                  <a:pt x="0" y="2911"/>
                </a:lnTo>
                <a:lnTo>
                  <a:pt x="0" y="173"/>
                </a:lnTo>
                <a:close/>
                <a:moveTo>
                  <a:pt x="4983" y="3167"/>
                </a:moveTo>
                <a:lnTo>
                  <a:pt x="4983" y="3167"/>
                </a:lnTo>
                <a:lnTo>
                  <a:pt x="4987" y="3170"/>
                </a:lnTo>
                <a:lnTo>
                  <a:pt x="4990" y="3177"/>
                </a:lnTo>
                <a:lnTo>
                  <a:pt x="4995" y="3194"/>
                </a:lnTo>
                <a:lnTo>
                  <a:pt x="4999" y="3218"/>
                </a:lnTo>
                <a:lnTo>
                  <a:pt x="4999" y="3243"/>
                </a:lnTo>
                <a:lnTo>
                  <a:pt x="4997" y="3270"/>
                </a:lnTo>
                <a:lnTo>
                  <a:pt x="4994" y="3284"/>
                </a:lnTo>
                <a:lnTo>
                  <a:pt x="4990" y="3298"/>
                </a:lnTo>
                <a:lnTo>
                  <a:pt x="4983" y="3310"/>
                </a:lnTo>
                <a:lnTo>
                  <a:pt x="4978" y="3322"/>
                </a:lnTo>
                <a:lnTo>
                  <a:pt x="4970" y="3332"/>
                </a:lnTo>
                <a:lnTo>
                  <a:pt x="4959" y="3343"/>
                </a:lnTo>
                <a:lnTo>
                  <a:pt x="4676" y="3624"/>
                </a:lnTo>
                <a:lnTo>
                  <a:pt x="4678" y="3652"/>
                </a:lnTo>
                <a:lnTo>
                  <a:pt x="4676" y="3681"/>
                </a:lnTo>
                <a:lnTo>
                  <a:pt x="4671" y="3711"/>
                </a:lnTo>
                <a:lnTo>
                  <a:pt x="4664" y="3738"/>
                </a:lnTo>
                <a:lnTo>
                  <a:pt x="4654" y="3768"/>
                </a:lnTo>
                <a:lnTo>
                  <a:pt x="4640" y="3793"/>
                </a:lnTo>
                <a:lnTo>
                  <a:pt x="4624" y="3818"/>
                </a:lnTo>
                <a:lnTo>
                  <a:pt x="4614" y="3828"/>
                </a:lnTo>
                <a:lnTo>
                  <a:pt x="4605" y="3837"/>
                </a:lnTo>
                <a:lnTo>
                  <a:pt x="4293" y="4125"/>
                </a:lnTo>
                <a:lnTo>
                  <a:pt x="4282" y="4135"/>
                </a:lnTo>
                <a:lnTo>
                  <a:pt x="4270" y="4144"/>
                </a:lnTo>
                <a:lnTo>
                  <a:pt x="4258" y="4151"/>
                </a:lnTo>
                <a:lnTo>
                  <a:pt x="4244" y="4158"/>
                </a:lnTo>
                <a:lnTo>
                  <a:pt x="4218" y="4168"/>
                </a:lnTo>
                <a:lnTo>
                  <a:pt x="4193" y="4175"/>
                </a:lnTo>
                <a:lnTo>
                  <a:pt x="4165" y="4177"/>
                </a:lnTo>
                <a:lnTo>
                  <a:pt x="4136" y="4177"/>
                </a:lnTo>
                <a:lnTo>
                  <a:pt x="4108" y="4175"/>
                </a:lnTo>
                <a:lnTo>
                  <a:pt x="4080" y="4168"/>
                </a:lnTo>
                <a:lnTo>
                  <a:pt x="3859" y="4353"/>
                </a:lnTo>
                <a:lnTo>
                  <a:pt x="3833" y="4374"/>
                </a:lnTo>
                <a:lnTo>
                  <a:pt x="3807" y="4389"/>
                </a:lnTo>
                <a:lnTo>
                  <a:pt x="3782" y="4401"/>
                </a:lnTo>
                <a:lnTo>
                  <a:pt x="3752" y="4412"/>
                </a:lnTo>
                <a:lnTo>
                  <a:pt x="3725" y="4417"/>
                </a:lnTo>
                <a:lnTo>
                  <a:pt x="3693" y="4419"/>
                </a:lnTo>
                <a:lnTo>
                  <a:pt x="3662" y="4419"/>
                </a:lnTo>
                <a:lnTo>
                  <a:pt x="3630" y="4413"/>
                </a:lnTo>
                <a:lnTo>
                  <a:pt x="3571" y="4401"/>
                </a:lnTo>
                <a:lnTo>
                  <a:pt x="3415" y="4527"/>
                </a:lnTo>
                <a:lnTo>
                  <a:pt x="3400" y="4539"/>
                </a:lnTo>
                <a:lnTo>
                  <a:pt x="3383" y="4551"/>
                </a:lnTo>
                <a:lnTo>
                  <a:pt x="3367" y="4560"/>
                </a:lnTo>
                <a:lnTo>
                  <a:pt x="3350" y="4570"/>
                </a:lnTo>
                <a:lnTo>
                  <a:pt x="3333" y="4577"/>
                </a:lnTo>
                <a:lnTo>
                  <a:pt x="3315" y="4584"/>
                </a:lnTo>
                <a:lnTo>
                  <a:pt x="3296" y="4591"/>
                </a:lnTo>
                <a:lnTo>
                  <a:pt x="3279" y="4595"/>
                </a:lnTo>
                <a:lnTo>
                  <a:pt x="3260" y="4600"/>
                </a:lnTo>
                <a:lnTo>
                  <a:pt x="3241" y="4602"/>
                </a:lnTo>
                <a:lnTo>
                  <a:pt x="3201" y="4605"/>
                </a:lnTo>
                <a:lnTo>
                  <a:pt x="3160" y="4603"/>
                </a:lnTo>
                <a:lnTo>
                  <a:pt x="3117" y="4598"/>
                </a:lnTo>
                <a:lnTo>
                  <a:pt x="2438" y="4493"/>
                </a:lnTo>
                <a:lnTo>
                  <a:pt x="2379" y="4482"/>
                </a:lnTo>
                <a:lnTo>
                  <a:pt x="2321" y="4472"/>
                </a:lnTo>
                <a:lnTo>
                  <a:pt x="2262" y="4458"/>
                </a:lnTo>
                <a:lnTo>
                  <a:pt x="2234" y="4450"/>
                </a:lnTo>
                <a:lnTo>
                  <a:pt x="2207" y="4441"/>
                </a:lnTo>
                <a:lnTo>
                  <a:pt x="2179" y="4431"/>
                </a:lnTo>
                <a:lnTo>
                  <a:pt x="2153" y="4419"/>
                </a:lnTo>
                <a:lnTo>
                  <a:pt x="2126" y="4405"/>
                </a:lnTo>
                <a:lnTo>
                  <a:pt x="2101" y="4389"/>
                </a:lnTo>
                <a:lnTo>
                  <a:pt x="2076" y="4374"/>
                </a:lnTo>
                <a:lnTo>
                  <a:pt x="2053" y="4355"/>
                </a:lnTo>
                <a:lnTo>
                  <a:pt x="2029" y="4334"/>
                </a:lnTo>
                <a:lnTo>
                  <a:pt x="2008" y="4310"/>
                </a:lnTo>
                <a:lnTo>
                  <a:pt x="855" y="3003"/>
                </a:lnTo>
                <a:lnTo>
                  <a:pt x="692" y="2923"/>
                </a:lnTo>
                <a:lnTo>
                  <a:pt x="815" y="2676"/>
                </a:lnTo>
                <a:lnTo>
                  <a:pt x="1024" y="2776"/>
                </a:lnTo>
                <a:lnTo>
                  <a:pt x="2122" y="4027"/>
                </a:lnTo>
                <a:lnTo>
                  <a:pt x="2160" y="4066"/>
                </a:lnTo>
                <a:lnTo>
                  <a:pt x="2195" y="4103"/>
                </a:lnTo>
                <a:lnTo>
                  <a:pt x="2227" y="4132"/>
                </a:lnTo>
                <a:lnTo>
                  <a:pt x="2262" y="4156"/>
                </a:lnTo>
                <a:lnTo>
                  <a:pt x="2279" y="4166"/>
                </a:lnTo>
                <a:lnTo>
                  <a:pt x="2297" y="4177"/>
                </a:lnTo>
                <a:lnTo>
                  <a:pt x="2314" y="4184"/>
                </a:lnTo>
                <a:lnTo>
                  <a:pt x="2333" y="4192"/>
                </a:lnTo>
                <a:lnTo>
                  <a:pt x="2352" y="4198"/>
                </a:lnTo>
                <a:lnTo>
                  <a:pt x="2373" y="4204"/>
                </a:lnTo>
                <a:lnTo>
                  <a:pt x="2414" y="4211"/>
                </a:lnTo>
                <a:lnTo>
                  <a:pt x="3132" y="4318"/>
                </a:lnTo>
                <a:lnTo>
                  <a:pt x="3156" y="4322"/>
                </a:lnTo>
                <a:lnTo>
                  <a:pt x="3179" y="4322"/>
                </a:lnTo>
                <a:lnTo>
                  <a:pt x="3200" y="4320"/>
                </a:lnTo>
                <a:lnTo>
                  <a:pt x="3219" y="4317"/>
                </a:lnTo>
                <a:lnTo>
                  <a:pt x="3236" y="4311"/>
                </a:lnTo>
                <a:lnTo>
                  <a:pt x="3251" y="4305"/>
                </a:lnTo>
                <a:lnTo>
                  <a:pt x="3265" y="4296"/>
                </a:lnTo>
                <a:lnTo>
                  <a:pt x="3279" y="4286"/>
                </a:lnTo>
                <a:lnTo>
                  <a:pt x="3409" y="4168"/>
                </a:lnTo>
                <a:lnTo>
                  <a:pt x="3426" y="4156"/>
                </a:lnTo>
                <a:lnTo>
                  <a:pt x="3441" y="4144"/>
                </a:lnTo>
                <a:lnTo>
                  <a:pt x="3459" y="4135"/>
                </a:lnTo>
                <a:lnTo>
                  <a:pt x="3476" y="4127"/>
                </a:lnTo>
                <a:lnTo>
                  <a:pt x="3495" y="4122"/>
                </a:lnTo>
                <a:lnTo>
                  <a:pt x="3512" y="4118"/>
                </a:lnTo>
                <a:lnTo>
                  <a:pt x="3529" y="4115"/>
                </a:lnTo>
                <a:lnTo>
                  <a:pt x="3548" y="4115"/>
                </a:lnTo>
                <a:lnTo>
                  <a:pt x="3566" y="4115"/>
                </a:lnTo>
                <a:lnTo>
                  <a:pt x="3585" y="4116"/>
                </a:lnTo>
                <a:lnTo>
                  <a:pt x="3602" y="4120"/>
                </a:lnTo>
                <a:lnTo>
                  <a:pt x="3621" y="4123"/>
                </a:lnTo>
                <a:lnTo>
                  <a:pt x="3638" y="4130"/>
                </a:lnTo>
                <a:lnTo>
                  <a:pt x="3656" y="4137"/>
                </a:lnTo>
                <a:lnTo>
                  <a:pt x="3690" y="4153"/>
                </a:lnTo>
                <a:lnTo>
                  <a:pt x="3915" y="3947"/>
                </a:lnTo>
                <a:lnTo>
                  <a:pt x="3928" y="3935"/>
                </a:lnTo>
                <a:lnTo>
                  <a:pt x="3942" y="3925"/>
                </a:lnTo>
                <a:lnTo>
                  <a:pt x="3958" y="3918"/>
                </a:lnTo>
                <a:lnTo>
                  <a:pt x="3973" y="3911"/>
                </a:lnTo>
                <a:lnTo>
                  <a:pt x="3989" y="3906"/>
                </a:lnTo>
                <a:lnTo>
                  <a:pt x="4004" y="3901"/>
                </a:lnTo>
                <a:lnTo>
                  <a:pt x="4020" y="3899"/>
                </a:lnTo>
                <a:lnTo>
                  <a:pt x="4035" y="3897"/>
                </a:lnTo>
                <a:lnTo>
                  <a:pt x="4065" y="3897"/>
                </a:lnTo>
                <a:lnTo>
                  <a:pt x="4091" y="3899"/>
                </a:lnTo>
                <a:lnTo>
                  <a:pt x="4115" y="3904"/>
                </a:lnTo>
                <a:lnTo>
                  <a:pt x="4134" y="3911"/>
                </a:lnTo>
                <a:lnTo>
                  <a:pt x="4403" y="3659"/>
                </a:lnTo>
                <a:lnTo>
                  <a:pt x="4398" y="3638"/>
                </a:lnTo>
                <a:lnTo>
                  <a:pt x="4395" y="3614"/>
                </a:lnTo>
                <a:lnTo>
                  <a:pt x="4395" y="3588"/>
                </a:lnTo>
                <a:lnTo>
                  <a:pt x="4398" y="3559"/>
                </a:lnTo>
                <a:lnTo>
                  <a:pt x="4401" y="3545"/>
                </a:lnTo>
                <a:lnTo>
                  <a:pt x="4405" y="3531"/>
                </a:lnTo>
                <a:lnTo>
                  <a:pt x="4410" y="3517"/>
                </a:lnTo>
                <a:lnTo>
                  <a:pt x="4417" y="3502"/>
                </a:lnTo>
                <a:lnTo>
                  <a:pt x="4424" y="3488"/>
                </a:lnTo>
                <a:lnTo>
                  <a:pt x="4433" y="3476"/>
                </a:lnTo>
                <a:lnTo>
                  <a:pt x="4443" y="3462"/>
                </a:lnTo>
                <a:lnTo>
                  <a:pt x="4455" y="3450"/>
                </a:lnTo>
                <a:lnTo>
                  <a:pt x="4704" y="3217"/>
                </a:lnTo>
                <a:lnTo>
                  <a:pt x="4716" y="3203"/>
                </a:lnTo>
                <a:lnTo>
                  <a:pt x="4724" y="3187"/>
                </a:lnTo>
                <a:lnTo>
                  <a:pt x="4731" y="3172"/>
                </a:lnTo>
                <a:lnTo>
                  <a:pt x="4735" y="3155"/>
                </a:lnTo>
                <a:lnTo>
                  <a:pt x="4736" y="3137"/>
                </a:lnTo>
                <a:lnTo>
                  <a:pt x="4733" y="3120"/>
                </a:lnTo>
                <a:lnTo>
                  <a:pt x="4728" y="3106"/>
                </a:lnTo>
                <a:lnTo>
                  <a:pt x="4723" y="3099"/>
                </a:lnTo>
                <a:lnTo>
                  <a:pt x="4717" y="3092"/>
                </a:lnTo>
                <a:lnTo>
                  <a:pt x="3635" y="1977"/>
                </a:lnTo>
                <a:lnTo>
                  <a:pt x="2740" y="2317"/>
                </a:lnTo>
                <a:lnTo>
                  <a:pt x="2716" y="2326"/>
                </a:lnTo>
                <a:lnTo>
                  <a:pt x="2692" y="2334"/>
                </a:lnTo>
                <a:lnTo>
                  <a:pt x="2668" y="2340"/>
                </a:lnTo>
                <a:lnTo>
                  <a:pt x="2645" y="2345"/>
                </a:lnTo>
                <a:lnTo>
                  <a:pt x="2621" y="2347"/>
                </a:lnTo>
                <a:lnTo>
                  <a:pt x="2599" y="2348"/>
                </a:lnTo>
                <a:lnTo>
                  <a:pt x="2576" y="2350"/>
                </a:lnTo>
                <a:lnTo>
                  <a:pt x="2556" y="2348"/>
                </a:lnTo>
                <a:lnTo>
                  <a:pt x="2533" y="2347"/>
                </a:lnTo>
                <a:lnTo>
                  <a:pt x="2512" y="2343"/>
                </a:lnTo>
                <a:lnTo>
                  <a:pt x="2492" y="2338"/>
                </a:lnTo>
                <a:lnTo>
                  <a:pt x="2473" y="2333"/>
                </a:lnTo>
                <a:lnTo>
                  <a:pt x="2452" y="2326"/>
                </a:lnTo>
                <a:lnTo>
                  <a:pt x="2431" y="2319"/>
                </a:lnTo>
                <a:lnTo>
                  <a:pt x="2393" y="2300"/>
                </a:lnTo>
                <a:lnTo>
                  <a:pt x="2171" y="2184"/>
                </a:lnTo>
                <a:lnTo>
                  <a:pt x="2858" y="1454"/>
                </a:lnTo>
                <a:lnTo>
                  <a:pt x="1618" y="1071"/>
                </a:lnTo>
                <a:lnTo>
                  <a:pt x="1744" y="820"/>
                </a:lnTo>
                <a:lnTo>
                  <a:pt x="2934" y="1188"/>
                </a:lnTo>
                <a:lnTo>
                  <a:pt x="3036" y="1088"/>
                </a:lnTo>
                <a:lnTo>
                  <a:pt x="3074" y="1053"/>
                </a:lnTo>
                <a:lnTo>
                  <a:pt x="3110" y="1022"/>
                </a:lnTo>
                <a:lnTo>
                  <a:pt x="3131" y="1008"/>
                </a:lnTo>
                <a:lnTo>
                  <a:pt x="3150" y="995"/>
                </a:lnTo>
                <a:lnTo>
                  <a:pt x="3170" y="982"/>
                </a:lnTo>
                <a:lnTo>
                  <a:pt x="3193" y="970"/>
                </a:lnTo>
                <a:lnTo>
                  <a:pt x="3213" y="962"/>
                </a:lnTo>
                <a:lnTo>
                  <a:pt x="3238" y="953"/>
                </a:lnTo>
                <a:lnTo>
                  <a:pt x="3262" y="944"/>
                </a:lnTo>
                <a:lnTo>
                  <a:pt x="3288" y="939"/>
                </a:lnTo>
                <a:lnTo>
                  <a:pt x="3314" y="934"/>
                </a:lnTo>
                <a:lnTo>
                  <a:pt x="3341" y="931"/>
                </a:lnTo>
                <a:lnTo>
                  <a:pt x="3372" y="927"/>
                </a:lnTo>
                <a:lnTo>
                  <a:pt x="3403" y="927"/>
                </a:lnTo>
                <a:lnTo>
                  <a:pt x="4533" y="927"/>
                </a:lnTo>
                <a:lnTo>
                  <a:pt x="4951" y="734"/>
                </a:lnTo>
                <a:lnTo>
                  <a:pt x="5073" y="981"/>
                </a:lnTo>
                <a:lnTo>
                  <a:pt x="4590" y="1203"/>
                </a:lnTo>
                <a:lnTo>
                  <a:pt x="3403" y="1203"/>
                </a:lnTo>
                <a:lnTo>
                  <a:pt x="3386" y="1203"/>
                </a:lnTo>
                <a:lnTo>
                  <a:pt x="3371" y="1207"/>
                </a:lnTo>
                <a:lnTo>
                  <a:pt x="3355" y="1210"/>
                </a:lnTo>
                <a:lnTo>
                  <a:pt x="3338" y="1214"/>
                </a:lnTo>
                <a:lnTo>
                  <a:pt x="3322" y="1221"/>
                </a:lnTo>
                <a:lnTo>
                  <a:pt x="3305" y="1228"/>
                </a:lnTo>
                <a:lnTo>
                  <a:pt x="3274" y="1245"/>
                </a:lnTo>
                <a:lnTo>
                  <a:pt x="3243" y="1266"/>
                </a:lnTo>
                <a:lnTo>
                  <a:pt x="3212" y="1290"/>
                </a:lnTo>
                <a:lnTo>
                  <a:pt x="3184" y="1316"/>
                </a:lnTo>
                <a:lnTo>
                  <a:pt x="3156" y="1343"/>
                </a:lnTo>
                <a:lnTo>
                  <a:pt x="2397" y="2146"/>
                </a:lnTo>
                <a:lnTo>
                  <a:pt x="2442" y="2169"/>
                </a:lnTo>
                <a:lnTo>
                  <a:pt x="2469" y="2182"/>
                </a:lnTo>
                <a:lnTo>
                  <a:pt x="2495" y="2193"/>
                </a:lnTo>
                <a:lnTo>
                  <a:pt x="2519" y="2201"/>
                </a:lnTo>
                <a:lnTo>
                  <a:pt x="2545" y="2208"/>
                </a:lnTo>
                <a:lnTo>
                  <a:pt x="2573" y="2210"/>
                </a:lnTo>
                <a:lnTo>
                  <a:pt x="2600" y="2210"/>
                </a:lnTo>
                <a:lnTo>
                  <a:pt x="2628" y="2207"/>
                </a:lnTo>
                <a:lnTo>
                  <a:pt x="2659" y="2200"/>
                </a:lnTo>
                <a:lnTo>
                  <a:pt x="2692" y="2189"/>
                </a:lnTo>
                <a:lnTo>
                  <a:pt x="3671" y="1816"/>
                </a:lnTo>
                <a:lnTo>
                  <a:pt x="3996" y="2151"/>
                </a:lnTo>
                <a:lnTo>
                  <a:pt x="4075" y="2160"/>
                </a:lnTo>
                <a:lnTo>
                  <a:pt x="4155" y="2167"/>
                </a:lnTo>
                <a:lnTo>
                  <a:pt x="4232" y="2169"/>
                </a:lnTo>
                <a:lnTo>
                  <a:pt x="4312" y="2169"/>
                </a:lnTo>
                <a:lnTo>
                  <a:pt x="4391" y="2165"/>
                </a:lnTo>
                <a:lnTo>
                  <a:pt x="4471" y="2160"/>
                </a:lnTo>
                <a:lnTo>
                  <a:pt x="4550" y="2150"/>
                </a:lnTo>
                <a:lnTo>
                  <a:pt x="4628" y="2138"/>
                </a:lnTo>
                <a:lnTo>
                  <a:pt x="4652" y="2274"/>
                </a:lnTo>
                <a:lnTo>
                  <a:pt x="4590" y="2284"/>
                </a:lnTo>
                <a:lnTo>
                  <a:pt x="4526" y="2293"/>
                </a:lnTo>
                <a:lnTo>
                  <a:pt x="4462" y="2298"/>
                </a:lnTo>
                <a:lnTo>
                  <a:pt x="4400" y="2303"/>
                </a:lnTo>
                <a:lnTo>
                  <a:pt x="4336" y="2307"/>
                </a:lnTo>
                <a:lnTo>
                  <a:pt x="4272" y="2307"/>
                </a:lnTo>
                <a:lnTo>
                  <a:pt x="4208" y="2307"/>
                </a:lnTo>
                <a:lnTo>
                  <a:pt x="4144" y="2303"/>
                </a:lnTo>
                <a:lnTo>
                  <a:pt x="4983" y="3167"/>
                </a:lnTo>
                <a:close/>
                <a:moveTo>
                  <a:pt x="1623" y="4503"/>
                </a:moveTo>
                <a:lnTo>
                  <a:pt x="1324" y="4142"/>
                </a:lnTo>
                <a:lnTo>
                  <a:pt x="1214" y="4142"/>
                </a:lnTo>
                <a:lnTo>
                  <a:pt x="1190" y="4141"/>
                </a:lnTo>
                <a:lnTo>
                  <a:pt x="1167" y="4139"/>
                </a:lnTo>
                <a:lnTo>
                  <a:pt x="1143" y="4134"/>
                </a:lnTo>
                <a:lnTo>
                  <a:pt x="1121" y="4128"/>
                </a:lnTo>
                <a:lnTo>
                  <a:pt x="1100" y="4122"/>
                </a:lnTo>
                <a:lnTo>
                  <a:pt x="1077" y="4111"/>
                </a:lnTo>
                <a:lnTo>
                  <a:pt x="1057" y="4101"/>
                </a:lnTo>
                <a:lnTo>
                  <a:pt x="1038" y="4090"/>
                </a:lnTo>
                <a:lnTo>
                  <a:pt x="1019" y="4077"/>
                </a:lnTo>
                <a:lnTo>
                  <a:pt x="1000" y="4063"/>
                </a:lnTo>
                <a:lnTo>
                  <a:pt x="983" y="4047"/>
                </a:lnTo>
                <a:lnTo>
                  <a:pt x="967" y="4030"/>
                </a:lnTo>
                <a:lnTo>
                  <a:pt x="953" y="4013"/>
                </a:lnTo>
                <a:lnTo>
                  <a:pt x="939" y="3995"/>
                </a:lnTo>
                <a:lnTo>
                  <a:pt x="927" y="3975"/>
                </a:lnTo>
                <a:lnTo>
                  <a:pt x="917" y="3956"/>
                </a:lnTo>
                <a:lnTo>
                  <a:pt x="907" y="3935"/>
                </a:lnTo>
                <a:lnTo>
                  <a:pt x="900" y="3913"/>
                </a:lnTo>
                <a:lnTo>
                  <a:pt x="893" y="3892"/>
                </a:lnTo>
                <a:lnTo>
                  <a:pt x="888" y="3869"/>
                </a:lnTo>
                <a:lnTo>
                  <a:pt x="886" y="3845"/>
                </a:lnTo>
                <a:lnTo>
                  <a:pt x="884" y="3823"/>
                </a:lnTo>
                <a:lnTo>
                  <a:pt x="886" y="3799"/>
                </a:lnTo>
                <a:lnTo>
                  <a:pt x="889" y="3774"/>
                </a:lnTo>
                <a:lnTo>
                  <a:pt x="894" y="3750"/>
                </a:lnTo>
                <a:lnTo>
                  <a:pt x="901" y="3726"/>
                </a:lnTo>
                <a:lnTo>
                  <a:pt x="912" y="3702"/>
                </a:lnTo>
                <a:lnTo>
                  <a:pt x="924" y="3678"/>
                </a:lnTo>
                <a:lnTo>
                  <a:pt x="938" y="3654"/>
                </a:lnTo>
                <a:lnTo>
                  <a:pt x="955" y="3629"/>
                </a:lnTo>
                <a:lnTo>
                  <a:pt x="974" y="3605"/>
                </a:lnTo>
                <a:lnTo>
                  <a:pt x="996" y="3583"/>
                </a:lnTo>
                <a:lnTo>
                  <a:pt x="1088" y="3686"/>
                </a:lnTo>
                <a:lnTo>
                  <a:pt x="1076" y="3700"/>
                </a:lnTo>
                <a:lnTo>
                  <a:pt x="1065" y="3714"/>
                </a:lnTo>
                <a:lnTo>
                  <a:pt x="1057" y="3728"/>
                </a:lnTo>
                <a:lnTo>
                  <a:pt x="1048" y="3742"/>
                </a:lnTo>
                <a:lnTo>
                  <a:pt x="1041" y="3755"/>
                </a:lnTo>
                <a:lnTo>
                  <a:pt x="1036" y="3769"/>
                </a:lnTo>
                <a:lnTo>
                  <a:pt x="1033" y="3783"/>
                </a:lnTo>
                <a:lnTo>
                  <a:pt x="1029" y="3797"/>
                </a:lnTo>
                <a:lnTo>
                  <a:pt x="1027" y="3811"/>
                </a:lnTo>
                <a:lnTo>
                  <a:pt x="1026" y="3823"/>
                </a:lnTo>
                <a:lnTo>
                  <a:pt x="1026" y="3837"/>
                </a:lnTo>
                <a:lnTo>
                  <a:pt x="1027" y="3850"/>
                </a:lnTo>
                <a:lnTo>
                  <a:pt x="1033" y="3875"/>
                </a:lnTo>
                <a:lnTo>
                  <a:pt x="1041" y="3899"/>
                </a:lnTo>
                <a:lnTo>
                  <a:pt x="1055" y="3921"/>
                </a:lnTo>
                <a:lnTo>
                  <a:pt x="1071" y="3942"/>
                </a:lnTo>
                <a:lnTo>
                  <a:pt x="1090" y="3959"/>
                </a:lnTo>
                <a:lnTo>
                  <a:pt x="1110" y="3975"/>
                </a:lnTo>
                <a:lnTo>
                  <a:pt x="1133" y="3987"/>
                </a:lnTo>
                <a:lnTo>
                  <a:pt x="1159" y="3995"/>
                </a:lnTo>
                <a:lnTo>
                  <a:pt x="1185" y="4002"/>
                </a:lnTo>
                <a:lnTo>
                  <a:pt x="1214" y="4004"/>
                </a:lnTo>
                <a:lnTo>
                  <a:pt x="1371" y="4004"/>
                </a:lnTo>
                <a:lnTo>
                  <a:pt x="1516" y="4166"/>
                </a:lnTo>
                <a:lnTo>
                  <a:pt x="1715" y="4401"/>
                </a:lnTo>
                <a:lnTo>
                  <a:pt x="1623" y="4503"/>
                </a:lnTo>
                <a:close/>
                <a:moveTo>
                  <a:pt x="5039" y="2830"/>
                </a:moveTo>
                <a:lnTo>
                  <a:pt x="5835" y="2504"/>
                </a:lnTo>
                <a:lnTo>
                  <a:pt x="5959" y="2752"/>
                </a:lnTo>
                <a:lnTo>
                  <a:pt x="5248" y="3044"/>
                </a:lnTo>
                <a:lnTo>
                  <a:pt x="5039" y="2830"/>
                </a:lnTo>
                <a:close/>
                <a:moveTo>
                  <a:pt x="6736" y="173"/>
                </a:moveTo>
                <a:lnTo>
                  <a:pt x="6736" y="2911"/>
                </a:lnTo>
                <a:lnTo>
                  <a:pt x="6398" y="3075"/>
                </a:lnTo>
                <a:lnTo>
                  <a:pt x="5199" y="615"/>
                </a:lnTo>
                <a:lnTo>
                  <a:pt x="6420" y="26"/>
                </a:lnTo>
                <a:lnTo>
                  <a:pt x="6437" y="19"/>
                </a:lnTo>
                <a:lnTo>
                  <a:pt x="6455" y="12"/>
                </a:lnTo>
                <a:lnTo>
                  <a:pt x="6470" y="7"/>
                </a:lnTo>
                <a:lnTo>
                  <a:pt x="6487" y="3"/>
                </a:lnTo>
                <a:lnTo>
                  <a:pt x="6503" y="2"/>
                </a:lnTo>
                <a:lnTo>
                  <a:pt x="6518" y="0"/>
                </a:lnTo>
                <a:lnTo>
                  <a:pt x="6548" y="0"/>
                </a:lnTo>
                <a:lnTo>
                  <a:pt x="6575" y="3"/>
                </a:lnTo>
                <a:lnTo>
                  <a:pt x="6601" y="12"/>
                </a:lnTo>
                <a:lnTo>
                  <a:pt x="6625" y="21"/>
                </a:lnTo>
                <a:lnTo>
                  <a:pt x="6648" y="35"/>
                </a:lnTo>
                <a:lnTo>
                  <a:pt x="6667" y="48"/>
                </a:lnTo>
                <a:lnTo>
                  <a:pt x="6684" y="66"/>
                </a:lnTo>
                <a:lnTo>
                  <a:pt x="6700" y="83"/>
                </a:lnTo>
                <a:lnTo>
                  <a:pt x="6712" y="102"/>
                </a:lnTo>
                <a:lnTo>
                  <a:pt x="6722" y="119"/>
                </a:lnTo>
                <a:lnTo>
                  <a:pt x="6729" y="138"/>
                </a:lnTo>
                <a:lnTo>
                  <a:pt x="6734" y="155"/>
                </a:lnTo>
                <a:lnTo>
                  <a:pt x="6736" y="173"/>
                </a:lnTo>
                <a:close/>
              </a:path>
            </a:pathLst>
          </a:custGeom>
          <a:solidFill>
            <a:srgbClr val="0E80A5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64" name="TextBox 63"/>
          <p:cNvSpPr txBox="1"/>
          <p:nvPr/>
        </p:nvSpPr>
        <p:spPr>
          <a:xfrm>
            <a:off x="466752" y="3157622"/>
            <a:ext cx="224242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rgbClr val="FD9B02"/>
                </a:solidFill>
                <a:latin typeface="Trebuchet MS" panose="020B0603020202020204" pitchFamily="34" charset="0"/>
              </a:rPr>
              <a:t>НАШИ ЦЕННОСТИ </a:t>
            </a:r>
          </a:p>
        </p:txBody>
      </p:sp>
      <p:sp>
        <p:nvSpPr>
          <p:cNvPr id="65" name="Freeform 91"/>
          <p:cNvSpPr>
            <a:spLocks noChangeAspect="1" noEditPoints="1"/>
          </p:cNvSpPr>
          <p:nvPr/>
        </p:nvSpPr>
        <p:spPr bwMode="auto">
          <a:xfrm>
            <a:off x="3390234" y="4410574"/>
            <a:ext cx="566058" cy="400854"/>
          </a:xfrm>
          <a:custGeom>
            <a:avLst/>
            <a:gdLst>
              <a:gd name="T0" fmla="*/ 2147483647 w 6736"/>
              <a:gd name="T1" fmla="*/ 2147483647 h 4055"/>
              <a:gd name="T2" fmla="*/ 2147483647 w 6736"/>
              <a:gd name="T3" fmla="*/ 2147483647 h 4055"/>
              <a:gd name="T4" fmla="*/ 2147483647 w 6736"/>
              <a:gd name="T5" fmla="*/ 2147483647 h 4055"/>
              <a:gd name="T6" fmla="*/ 2147483647 w 6736"/>
              <a:gd name="T7" fmla="*/ 2147483647 h 4055"/>
              <a:gd name="T8" fmla="*/ 2147483647 w 6736"/>
              <a:gd name="T9" fmla="*/ 2147483647 h 4055"/>
              <a:gd name="T10" fmla="*/ 2147483647 w 6736"/>
              <a:gd name="T11" fmla="*/ 2147483647 h 4055"/>
              <a:gd name="T12" fmla="*/ 2147483647 w 6736"/>
              <a:gd name="T13" fmla="*/ 2147483647 h 4055"/>
              <a:gd name="T14" fmla="*/ 2147483647 w 6736"/>
              <a:gd name="T15" fmla="*/ 2147483647 h 4055"/>
              <a:gd name="T16" fmla="*/ 2147483647 w 6736"/>
              <a:gd name="T17" fmla="*/ 2147483647 h 4055"/>
              <a:gd name="T18" fmla="*/ 2147483647 w 6736"/>
              <a:gd name="T19" fmla="*/ 2147483647 h 4055"/>
              <a:gd name="T20" fmla="*/ 2147483647 w 6736"/>
              <a:gd name="T21" fmla="*/ 2147483647 h 4055"/>
              <a:gd name="T22" fmla="*/ 2147483647 w 6736"/>
              <a:gd name="T23" fmla="*/ 2147483647 h 4055"/>
              <a:gd name="T24" fmla="*/ 2147483647 w 6736"/>
              <a:gd name="T25" fmla="*/ 2147483647 h 4055"/>
              <a:gd name="T26" fmla="*/ 2147483647 w 6736"/>
              <a:gd name="T27" fmla="*/ 2147483647 h 4055"/>
              <a:gd name="T28" fmla="*/ 2147483647 w 6736"/>
              <a:gd name="T29" fmla="*/ 2147483647 h 4055"/>
              <a:gd name="T30" fmla="*/ 2147483647 w 6736"/>
              <a:gd name="T31" fmla="*/ 2147483647 h 4055"/>
              <a:gd name="T32" fmla="*/ 2147483647 w 6736"/>
              <a:gd name="T33" fmla="*/ 2147483647 h 4055"/>
              <a:gd name="T34" fmla="*/ 2147483647 w 6736"/>
              <a:gd name="T35" fmla="*/ 2147483647 h 4055"/>
              <a:gd name="T36" fmla="*/ 2147483647 w 6736"/>
              <a:gd name="T37" fmla="*/ 2147483647 h 4055"/>
              <a:gd name="T38" fmla="*/ 2147483647 w 6736"/>
              <a:gd name="T39" fmla="*/ 2147483647 h 4055"/>
              <a:gd name="T40" fmla="*/ 2147483647 w 6736"/>
              <a:gd name="T41" fmla="*/ 2147483647 h 4055"/>
              <a:gd name="T42" fmla="*/ 2147483647 w 6736"/>
              <a:gd name="T43" fmla="*/ 2147483647 h 4055"/>
              <a:gd name="T44" fmla="*/ 2147483647 w 6736"/>
              <a:gd name="T45" fmla="*/ 2147483647 h 4055"/>
              <a:gd name="T46" fmla="*/ 2147483647 w 6736"/>
              <a:gd name="T47" fmla="*/ 2147483647 h 4055"/>
              <a:gd name="T48" fmla="*/ 2147483647 w 6736"/>
              <a:gd name="T49" fmla="*/ 2147483647 h 4055"/>
              <a:gd name="T50" fmla="*/ 2147483647 w 6736"/>
              <a:gd name="T51" fmla="*/ 2147483647 h 4055"/>
              <a:gd name="T52" fmla="*/ 2147483647 w 6736"/>
              <a:gd name="T53" fmla="*/ 2147483647 h 4055"/>
              <a:gd name="T54" fmla="*/ 2147483647 w 6736"/>
              <a:gd name="T55" fmla="*/ 2147483647 h 4055"/>
              <a:gd name="T56" fmla="*/ 2147483647 w 6736"/>
              <a:gd name="T57" fmla="*/ 2147483647 h 4055"/>
              <a:gd name="T58" fmla="*/ 2147483647 w 6736"/>
              <a:gd name="T59" fmla="*/ 2147483647 h 4055"/>
              <a:gd name="T60" fmla="*/ 2147483647 w 6736"/>
              <a:gd name="T61" fmla="*/ 2147483647 h 4055"/>
              <a:gd name="T62" fmla="*/ 2147483647 w 6736"/>
              <a:gd name="T63" fmla="*/ 2147483647 h 4055"/>
              <a:gd name="T64" fmla="*/ 2147483647 w 6736"/>
              <a:gd name="T65" fmla="*/ 2147483647 h 4055"/>
              <a:gd name="T66" fmla="*/ 0 w 6736"/>
              <a:gd name="T67" fmla="*/ 2147483647 h 4055"/>
              <a:gd name="T68" fmla="*/ 2147483647 w 6736"/>
              <a:gd name="T69" fmla="*/ 2147483647 h 4055"/>
              <a:gd name="T70" fmla="*/ 2147483647 w 6736"/>
              <a:gd name="T71" fmla="*/ 2147483647 h 4055"/>
              <a:gd name="T72" fmla="*/ 2147483647 w 6736"/>
              <a:gd name="T73" fmla="*/ 2147483647 h 4055"/>
              <a:gd name="T74" fmla="*/ 2147483647 w 6736"/>
              <a:gd name="T75" fmla="*/ 2147483647 h 4055"/>
              <a:gd name="T76" fmla="*/ 2147483647 w 6736"/>
              <a:gd name="T77" fmla="*/ 2147483647 h 4055"/>
              <a:gd name="T78" fmla="*/ 2147483647 w 6736"/>
              <a:gd name="T79" fmla="*/ 2147483647 h 4055"/>
              <a:gd name="T80" fmla="*/ 2147483647 w 6736"/>
              <a:gd name="T81" fmla="*/ 2147483647 h 4055"/>
              <a:gd name="T82" fmla="*/ 2147483647 w 6736"/>
              <a:gd name="T83" fmla="*/ 2147483647 h 4055"/>
              <a:gd name="T84" fmla="*/ 2147483647 w 6736"/>
              <a:gd name="T85" fmla="*/ 2147483647 h 4055"/>
              <a:gd name="T86" fmla="*/ 2147483647 w 6736"/>
              <a:gd name="T87" fmla="*/ 2147483647 h 4055"/>
              <a:gd name="T88" fmla="*/ 2147483647 w 6736"/>
              <a:gd name="T89" fmla="*/ 2147483647 h 4055"/>
              <a:gd name="T90" fmla="*/ 2147483647 w 6736"/>
              <a:gd name="T91" fmla="*/ 2147483647 h 4055"/>
              <a:gd name="T92" fmla="*/ 2147483647 w 6736"/>
              <a:gd name="T93" fmla="*/ 2147483647 h 4055"/>
              <a:gd name="T94" fmla="*/ 2147483647 w 6736"/>
              <a:gd name="T95" fmla="*/ 2147483647 h 4055"/>
              <a:gd name="T96" fmla="*/ 2147483647 w 6736"/>
              <a:gd name="T97" fmla="*/ 2147483647 h 4055"/>
              <a:gd name="T98" fmla="*/ 2147483647 w 6736"/>
              <a:gd name="T99" fmla="*/ 2147483647 h 4055"/>
              <a:gd name="T100" fmla="*/ 2147483647 w 6736"/>
              <a:gd name="T101" fmla="*/ 2147483647 h 4055"/>
              <a:gd name="T102" fmla="*/ 2147483647 w 6736"/>
              <a:gd name="T103" fmla="*/ 2147483647 h 4055"/>
              <a:gd name="T104" fmla="*/ 2147483647 w 6736"/>
              <a:gd name="T105" fmla="*/ 2147483647 h 4055"/>
              <a:gd name="T106" fmla="*/ 2147483647 w 6736"/>
              <a:gd name="T107" fmla="*/ 2147483647 h 4055"/>
              <a:gd name="T108" fmla="*/ 2147483647 w 6736"/>
              <a:gd name="T109" fmla="*/ 2147483647 h 4055"/>
              <a:gd name="T110" fmla="*/ 2147483647 w 6736"/>
              <a:gd name="T111" fmla="*/ 2147483647 h 4055"/>
              <a:gd name="T112" fmla="*/ 2147483647 w 6736"/>
              <a:gd name="T113" fmla="*/ 2147483647 h 4055"/>
              <a:gd name="T114" fmla="*/ 2147483647 w 6736"/>
              <a:gd name="T115" fmla="*/ 2147483647 h 4055"/>
              <a:gd name="T116" fmla="*/ 2147483647 w 6736"/>
              <a:gd name="T117" fmla="*/ 2147483647 h 4055"/>
              <a:gd name="T118" fmla="*/ 2147483647 w 6736"/>
              <a:gd name="T119" fmla="*/ 2147483647 h 4055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6736"/>
              <a:gd name="T181" fmla="*/ 0 h 4055"/>
              <a:gd name="T182" fmla="*/ 6736 w 6736"/>
              <a:gd name="T183" fmla="*/ 4055 h 4055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6736" h="4055">
                <a:moveTo>
                  <a:pt x="6186" y="3575"/>
                </a:moveTo>
                <a:lnTo>
                  <a:pt x="6186" y="3747"/>
                </a:lnTo>
                <a:lnTo>
                  <a:pt x="6053" y="3747"/>
                </a:lnTo>
                <a:lnTo>
                  <a:pt x="6053" y="3575"/>
                </a:lnTo>
                <a:lnTo>
                  <a:pt x="6186" y="3575"/>
                </a:lnTo>
                <a:close/>
                <a:moveTo>
                  <a:pt x="6186" y="3880"/>
                </a:moveTo>
                <a:lnTo>
                  <a:pt x="6186" y="4055"/>
                </a:lnTo>
                <a:lnTo>
                  <a:pt x="6053" y="4055"/>
                </a:lnTo>
                <a:lnTo>
                  <a:pt x="6053" y="3880"/>
                </a:lnTo>
                <a:lnTo>
                  <a:pt x="6186" y="3880"/>
                </a:lnTo>
                <a:close/>
                <a:moveTo>
                  <a:pt x="5052" y="3575"/>
                </a:moveTo>
                <a:lnTo>
                  <a:pt x="5052" y="3747"/>
                </a:lnTo>
                <a:lnTo>
                  <a:pt x="4919" y="3747"/>
                </a:lnTo>
                <a:lnTo>
                  <a:pt x="4919" y="3575"/>
                </a:lnTo>
                <a:lnTo>
                  <a:pt x="5052" y="3575"/>
                </a:lnTo>
                <a:close/>
                <a:moveTo>
                  <a:pt x="5052" y="3880"/>
                </a:moveTo>
                <a:lnTo>
                  <a:pt x="5052" y="4055"/>
                </a:lnTo>
                <a:lnTo>
                  <a:pt x="4919" y="4055"/>
                </a:lnTo>
                <a:lnTo>
                  <a:pt x="4919" y="3880"/>
                </a:lnTo>
                <a:lnTo>
                  <a:pt x="5052" y="3880"/>
                </a:lnTo>
                <a:close/>
                <a:moveTo>
                  <a:pt x="5902" y="3575"/>
                </a:moveTo>
                <a:lnTo>
                  <a:pt x="5902" y="3747"/>
                </a:lnTo>
                <a:lnTo>
                  <a:pt x="5768" y="3747"/>
                </a:lnTo>
                <a:lnTo>
                  <a:pt x="5768" y="3575"/>
                </a:lnTo>
                <a:lnTo>
                  <a:pt x="5902" y="3575"/>
                </a:lnTo>
                <a:close/>
                <a:moveTo>
                  <a:pt x="5902" y="3880"/>
                </a:moveTo>
                <a:lnTo>
                  <a:pt x="5902" y="4055"/>
                </a:lnTo>
                <a:lnTo>
                  <a:pt x="5768" y="4055"/>
                </a:lnTo>
                <a:lnTo>
                  <a:pt x="5768" y="3880"/>
                </a:lnTo>
                <a:lnTo>
                  <a:pt x="5902" y="3880"/>
                </a:lnTo>
                <a:close/>
                <a:moveTo>
                  <a:pt x="5619" y="3575"/>
                </a:moveTo>
                <a:lnTo>
                  <a:pt x="5619" y="3747"/>
                </a:lnTo>
                <a:lnTo>
                  <a:pt x="5485" y="3747"/>
                </a:lnTo>
                <a:lnTo>
                  <a:pt x="5485" y="3575"/>
                </a:lnTo>
                <a:lnTo>
                  <a:pt x="5619" y="3575"/>
                </a:lnTo>
                <a:close/>
                <a:moveTo>
                  <a:pt x="5619" y="3880"/>
                </a:moveTo>
                <a:lnTo>
                  <a:pt x="5619" y="4055"/>
                </a:lnTo>
                <a:lnTo>
                  <a:pt x="5485" y="4055"/>
                </a:lnTo>
                <a:lnTo>
                  <a:pt x="5485" y="3880"/>
                </a:lnTo>
                <a:lnTo>
                  <a:pt x="5619" y="3880"/>
                </a:lnTo>
                <a:close/>
                <a:moveTo>
                  <a:pt x="5336" y="3575"/>
                </a:moveTo>
                <a:lnTo>
                  <a:pt x="5336" y="3747"/>
                </a:lnTo>
                <a:lnTo>
                  <a:pt x="5202" y="3747"/>
                </a:lnTo>
                <a:lnTo>
                  <a:pt x="5202" y="3575"/>
                </a:lnTo>
                <a:lnTo>
                  <a:pt x="5336" y="3575"/>
                </a:lnTo>
                <a:close/>
                <a:moveTo>
                  <a:pt x="5336" y="3880"/>
                </a:moveTo>
                <a:lnTo>
                  <a:pt x="5336" y="4055"/>
                </a:lnTo>
                <a:lnTo>
                  <a:pt x="5202" y="4055"/>
                </a:lnTo>
                <a:lnTo>
                  <a:pt x="5202" y="3880"/>
                </a:lnTo>
                <a:lnTo>
                  <a:pt x="5336" y="3880"/>
                </a:lnTo>
                <a:close/>
                <a:moveTo>
                  <a:pt x="5660" y="2803"/>
                </a:moveTo>
                <a:lnTo>
                  <a:pt x="5660" y="2803"/>
                </a:lnTo>
                <a:lnTo>
                  <a:pt x="5655" y="2818"/>
                </a:lnTo>
                <a:lnTo>
                  <a:pt x="5652" y="2831"/>
                </a:lnTo>
                <a:lnTo>
                  <a:pt x="5649" y="2844"/>
                </a:lnTo>
                <a:lnTo>
                  <a:pt x="5647" y="2859"/>
                </a:lnTo>
                <a:lnTo>
                  <a:pt x="5645" y="2873"/>
                </a:lnTo>
                <a:lnTo>
                  <a:pt x="5645" y="2886"/>
                </a:lnTo>
                <a:lnTo>
                  <a:pt x="5647" y="2899"/>
                </a:lnTo>
                <a:lnTo>
                  <a:pt x="5650" y="2913"/>
                </a:lnTo>
                <a:lnTo>
                  <a:pt x="5657" y="2938"/>
                </a:lnTo>
                <a:lnTo>
                  <a:pt x="5669" y="2961"/>
                </a:lnTo>
                <a:lnTo>
                  <a:pt x="5682" y="2983"/>
                </a:lnTo>
                <a:lnTo>
                  <a:pt x="5699" y="3001"/>
                </a:lnTo>
                <a:lnTo>
                  <a:pt x="5719" y="3019"/>
                </a:lnTo>
                <a:lnTo>
                  <a:pt x="5740" y="3033"/>
                </a:lnTo>
                <a:lnTo>
                  <a:pt x="5763" y="3044"/>
                </a:lnTo>
                <a:lnTo>
                  <a:pt x="5788" y="3051"/>
                </a:lnTo>
                <a:lnTo>
                  <a:pt x="5802" y="3054"/>
                </a:lnTo>
                <a:lnTo>
                  <a:pt x="5815" y="3054"/>
                </a:lnTo>
                <a:lnTo>
                  <a:pt x="5828" y="3056"/>
                </a:lnTo>
                <a:lnTo>
                  <a:pt x="5842" y="3054"/>
                </a:lnTo>
                <a:lnTo>
                  <a:pt x="5855" y="3052"/>
                </a:lnTo>
                <a:lnTo>
                  <a:pt x="5870" y="3049"/>
                </a:lnTo>
                <a:lnTo>
                  <a:pt x="5883" y="3046"/>
                </a:lnTo>
                <a:lnTo>
                  <a:pt x="5898" y="3041"/>
                </a:lnTo>
                <a:lnTo>
                  <a:pt x="5660" y="2803"/>
                </a:lnTo>
                <a:close/>
                <a:moveTo>
                  <a:pt x="5605" y="2653"/>
                </a:moveTo>
                <a:lnTo>
                  <a:pt x="5652" y="2606"/>
                </a:lnTo>
                <a:lnTo>
                  <a:pt x="6095" y="3049"/>
                </a:lnTo>
                <a:lnTo>
                  <a:pt x="6048" y="3096"/>
                </a:lnTo>
                <a:lnTo>
                  <a:pt x="6030" y="3112"/>
                </a:lnTo>
                <a:lnTo>
                  <a:pt x="6010" y="3127"/>
                </a:lnTo>
                <a:lnTo>
                  <a:pt x="5990" y="3142"/>
                </a:lnTo>
                <a:lnTo>
                  <a:pt x="5970" y="3154"/>
                </a:lnTo>
                <a:lnTo>
                  <a:pt x="5948" y="3164"/>
                </a:lnTo>
                <a:lnTo>
                  <a:pt x="5927" y="3172"/>
                </a:lnTo>
                <a:lnTo>
                  <a:pt x="5903" y="3179"/>
                </a:lnTo>
                <a:lnTo>
                  <a:pt x="5880" y="3182"/>
                </a:lnTo>
                <a:lnTo>
                  <a:pt x="5858" y="3186"/>
                </a:lnTo>
                <a:lnTo>
                  <a:pt x="5835" y="3187"/>
                </a:lnTo>
                <a:lnTo>
                  <a:pt x="5812" y="3187"/>
                </a:lnTo>
                <a:lnTo>
                  <a:pt x="5788" y="3186"/>
                </a:lnTo>
                <a:lnTo>
                  <a:pt x="5765" y="3182"/>
                </a:lnTo>
                <a:lnTo>
                  <a:pt x="5742" y="3176"/>
                </a:lnTo>
                <a:lnTo>
                  <a:pt x="5720" y="3169"/>
                </a:lnTo>
                <a:lnTo>
                  <a:pt x="5699" y="3161"/>
                </a:lnTo>
                <a:lnTo>
                  <a:pt x="5745" y="3296"/>
                </a:lnTo>
                <a:lnTo>
                  <a:pt x="6475" y="3296"/>
                </a:lnTo>
                <a:lnTo>
                  <a:pt x="6475" y="4055"/>
                </a:lnTo>
                <a:lnTo>
                  <a:pt x="6341" y="4055"/>
                </a:lnTo>
                <a:lnTo>
                  <a:pt x="6341" y="3429"/>
                </a:lnTo>
                <a:lnTo>
                  <a:pt x="4763" y="3429"/>
                </a:lnTo>
                <a:lnTo>
                  <a:pt x="4763" y="4055"/>
                </a:lnTo>
                <a:lnTo>
                  <a:pt x="4629" y="4055"/>
                </a:lnTo>
                <a:lnTo>
                  <a:pt x="4629" y="3296"/>
                </a:lnTo>
                <a:lnTo>
                  <a:pt x="4916" y="3296"/>
                </a:lnTo>
                <a:lnTo>
                  <a:pt x="4984" y="3102"/>
                </a:lnTo>
                <a:lnTo>
                  <a:pt x="4979" y="3096"/>
                </a:lnTo>
                <a:lnTo>
                  <a:pt x="4957" y="3072"/>
                </a:lnTo>
                <a:lnTo>
                  <a:pt x="4939" y="3047"/>
                </a:lnTo>
                <a:lnTo>
                  <a:pt x="4923" y="3021"/>
                </a:lnTo>
                <a:lnTo>
                  <a:pt x="4909" y="2993"/>
                </a:lnTo>
                <a:lnTo>
                  <a:pt x="4899" y="2964"/>
                </a:lnTo>
                <a:lnTo>
                  <a:pt x="4893" y="2934"/>
                </a:lnTo>
                <a:lnTo>
                  <a:pt x="4888" y="2904"/>
                </a:lnTo>
                <a:lnTo>
                  <a:pt x="4888" y="2874"/>
                </a:lnTo>
                <a:lnTo>
                  <a:pt x="4888" y="2844"/>
                </a:lnTo>
                <a:lnTo>
                  <a:pt x="4893" y="2814"/>
                </a:lnTo>
                <a:lnTo>
                  <a:pt x="4899" y="2786"/>
                </a:lnTo>
                <a:lnTo>
                  <a:pt x="4909" y="2756"/>
                </a:lnTo>
                <a:lnTo>
                  <a:pt x="4923" y="2729"/>
                </a:lnTo>
                <a:lnTo>
                  <a:pt x="4939" y="2703"/>
                </a:lnTo>
                <a:lnTo>
                  <a:pt x="4957" y="2676"/>
                </a:lnTo>
                <a:lnTo>
                  <a:pt x="4979" y="2653"/>
                </a:lnTo>
                <a:lnTo>
                  <a:pt x="5026" y="2606"/>
                </a:lnTo>
                <a:lnTo>
                  <a:pt x="5469" y="3049"/>
                </a:lnTo>
                <a:lnTo>
                  <a:pt x="5422" y="3096"/>
                </a:lnTo>
                <a:lnTo>
                  <a:pt x="5404" y="3112"/>
                </a:lnTo>
                <a:lnTo>
                  <a:pt x="5384" y="3127"/>
                </a:lnTo>
                <a:lnTo>
                  <a:pt x="5364" y="3142"/>
                </a:lnTo>
                <a:lnTo>
                  <a:pt x="5344" y="3154"/>
                </a:lnTo>
                <a:lnTo>
                  <a:pt x="5322" y="3164"/>
                </a:lnTo>
                <a:lnTo>
                  <a:pt x="5301" y="3172"/>
                </a:lnTo>
                <a:lnTo>
                  <a:pt x="5277" y="3179"/>
                </a:lnTo>
                <a:lnTo>
                  <a:pt x="5254" y="3182"/>
                </a:lnTo>
                <a:lnTo>
                  <a:pt x="5232" y="3186"/>
                </a:lnTo>
                <a:lnTo>
                  <a:pt x="5209" y="3187"/>
                </a:lnTo>
                <a:lnTo>
                  <a:pt x="5186" y="3187"/>
                </a:lnTo>
                <a:lnTo>
                  <a:pt x="5162" y="3186"/>
                </a:lnTo>
                <a:lnTo>
                  <a:pt x="5139" y="3182"/>
                </a:lnTo>
                <a:lnTo>
                  <a:pt x="5116" y="3176"/>
                </a:lnTo>
                <a:lnTo>
                  <a:pt x="5094" y="3169"/>
                </a:lnTo>
                <a:lnTo>
                  <a:pt x="5072" y="3161"/>
                </a:lnTo>
                <a:lnTo>
                  <a:pt x="5119" y="3296"/>
                </a:lnTo>
                <a:lnTo>
                  <a:pt x="5542" y="3296"/>
                </a:lnTo>
                <a:lnTo>
                  <a:pt x="5610" y="3102"/>
                </a:lnTo>
                <a:lnTo>
                  <a:pt x="5605" y="3096"/>
                </a:lnTo>
                <a:lnTo>
                  <a:pt x="5584" y="3072"/>
                </a:lnTo>
                <a:lnTo>
                  <a:pt x="5564" y="3047"/>
                </a:lnTo>
                <a:lnTo>
                  <a:pt x="5549" y="3021"/>
                </a:lnTo>
                <a:lnTo>
                  <a:pt x="5535" y="2993"/>
                </a:lnTo>
                <a:lnTo>
                  <a:pt x="5525" y="2964"/>
                </a:lnTo>
                <a:lnTo>
                  <a:pt x="5519" y="2934"/>
                </a:lnTo>
                <a:lnTo>
                  <a:pt x="5514" y="2904"/>
                </a:lnTo>
                <a:lnTo>
                  <a:pt x="5512" y="2874"/>
                </a:lnTo>
                <a:lnTo>
                  <a:pt x="5514" y="2844"/>
                </a:lnTo>
                <a:lnTo>
                  <a:pt x="5519" y="2814"/>
                </a:lnTo>
                <a:lnTo>
                  <a:pt x="5525" y="2786"/>
                </a:lnTo>
                <a:lnTo>
                  <a:pt x="5535" y="2756"/>
                </a:lnTo>
                <a:lnTo>
                  <a:pt x="5549" y="2729"/>
                </a:lnTo>
                <a:lnTo>
                  <a:pt x="5564" y="2703"/>
                </a:lnTo>
                <a:lnTo>
                  <a:pt x="5584" y="2676"/>
                </a:lnTo>
                <a:lnTo>
                  <a:pt x="5605" y="2653"/>
                </a:lnTo>
                <a:close/>
                <a:moveTo>
                  <a:pt x="5034" y="2803"/>
                </a:moveTo>
                <a:lnTo>
                  <a:pt x="5034" y="2803"/>
                </a:lnTo>
                <a:lnTo>
                  <a:pt x="5029" y="2818"/>
                </a:lnTo>
                <a:lnTo>
                  <a:pt x="5026" y="2831"/>
                </a:lnTo>
                <a:lnTo>
                  <a:pt x="5022" y="2844"/>
                </a:lnTo>
                <a:lnTo>
                  <a:pt x="5021" y="2859"/>
                </a:lnTo>
                <a:lnTo>
                  <a:pt x="5019" y="2873"/>
                </a:lnTo>
                <a:lnTo>
                  <a:pt x="5019" y="2886"/>
                </a:lnTo>
                <a:lnTo>
                  <a:pt x="5021" y="2899"/>
                </a:lnTo>
                <a:lnTo>
                  <a:pt x="5024" y="2913"/>
                </a:lnTo>
                <a:lnTo>
                  <a:pt x="5031" y="2938"/>
                </a:lnTo>
                <a:lnTo>
                  <a:pt x="5042" y="2961"/>
                </a:lnTo>
                <a:lnTo>
                  <a:pt x="5056" y="2983"/>
                </a:lnTo>
                <a:lnTo>
                  <a:pt x="5072" y="3001"/>
                </a:lnTo>
                <a:lnTo>
                  <a:pt x="5092" y="3019"/>
                </a:lnTo>
                <a:lnTo>
                  <a:pt x="5114" y="3033"/>
                </a:lnTo>
                <a:lnTo>
                  <a:pt x="5137" y="3044"/>
                </a:lnTo>
                <a:lnTo>
                  <a:pt x="5162" y="3051"/>
                </a:lnTo>
                <a:lnTo>
                  <a:pt x="5176" y="3054"/>
                </a:lnTo>
                <a:lnTo>
                  <a:pt x="5189" y="3054"/>
                </a:lnTo>
                <a:lnTo>
                  <a:pt x="5202" y="3056"/>
                </a:lnTo>
                <a:lnTo>
                  <a:pt x="5216" y="3054"/>
                </a:lnTo>
                <a:lnTo>
                  <a:pt x="5229" y="3052"/>
                </a:lnTo>
                <a:lnTo>
                  <a:pt x="5244" y="3049"/>
                </a:lnTo>
                <a:lnTo>
                  <a:pt x="5257" y="3046"/>
                </a:lnTo>
                <a:lnTo>
                  <a:pt x="5272" y="3041"/>
                </a:lnTo>
                <a:lnTo>
                  <a:pt x="5034" y="2803"/>
                </a:lnTo>
                <a:close/>
                <a:moveTo>
                  <a:pt x="0" y="1424"/>
                </a:moveTo>
                <a:lnTo>
                  <a:pt x="3361" y="0"/>
                </a:lnTo>
                <a:lnTo>
                  <a:pt x="6736" y="1422"/>
                </a:lnTo>
                <a:lnTo>
                  <a:pt x="6578" y="2002"/>
                </a:lnTo>
                <a:lnTo>
                  <a:pt x="157" y="2002"/>
                </a:lnTo>
                <a:lnTo>
                  <a:pt x="0" y="1424"/>
                </a:lnTo>
                <a:close/>
                <a:moveTo>
                  <a:pt x="318" y="1577"/>
                </a:moveTo>
                <a:lnTo>
                  <a:pt x="360" y="1735"/>
                </a:lnTo>
                <a:lnTo>
                  <a:pt x="6375" y="1735"/>
                </a:lnTo>
                <a:lnTo>
                  <a:pt x="6418" y="1579"/>
                </a:lnTo>
                <a:lnTo>
                  <a:pt x="3361" y="290"/>
                </a:lnTo>
                <a:lnTo>
                  <a:pt x="318" y="1577"/>
                </a:lnTo>
                <a:close/>
                <a:moveTo>
                  <a:pt x="923" y="3296"/>
                </a:moveTo>
                <a:lnTo>
                  <a:pt x="1389" y="3296"/>
                </a:lnTo>
                <a:lnTo>
                  <a:pt x="1156" y="3212"/>
                </a:lnTo>
                <a:lnTo>
                  <a:pt x="923" y="3296"/>
                </a:lnTo>
                <a:close/>
                <a:moveTo>
                  <a:pt x="1121" y="2620"/>
                </a:moveTo>
                <a:lnTo>
                  <a:pt x="1487" y="2739"/>
                </a:lnTo>
                <a:lnTo>
                  <a:pt x="1252" y="2841"/>
                </a:lnTo>
                <a:lnTo>
                  <a:pt x="1252" y="3102"/>
                </a:lnTo>
                <a:lnTo>
                  <a:pt x="1244" y="3102"/>
                </a:lnTo>
                <a:lnTo>
                  <a:pt x="1785" y="3296"/>
                </a:lnTo>
                <a:lnTo>
                  <a:pt x="2097" y="3296"/>
                </a:lnTo>
                <a:lnTo>
                  <a:pt x="2097" y="4055"/>
                </a:lnTo>
                <a:lnTo>
                  <a:pt x="1963" y="4055"/>
                </a:lnTo>
                <a:lnTo>
                  <a:pt x="1963" y="3429"/>
                </a:lnTo>
                <a:lnTo>
                  <a:pt x="385" y="3429"/>
                </a:lnTo>
                <a:lnTo>
                  <a:pt x="385" y="4055"/>
                </a:lnTo>
                <a:lnTo>
                  <a:pt x="251" y="4055"/>
                </a:lnTo>
                <a:lnTo>
                  <a:pt x="251" y="3296"/>
                </a:lnTo>
                <a:lnTo>
                  <a:pt x="526" y="3296"/>
                </a:lnTo>
                <a:lnTo>
                  <a:pt x="1119" y="3084"/>
                </a:lnTo>
                <a:lnTo>
                  <a:pt x="1119" y="2838"/>
                </a:lnTo>
                <a:lnTo>
                  <a:pt x="1121" y="2838"/>
                </a:lnTo>
                <a:lnTo>
                  <a:pt x="1121" y="2620"/>
                </a:lnTo>
                <a:close/>
                <a:moveTo>
                  <a:pt x="958" y="3880"/>
                </a:moveTo>
                <a:lnTo>
                  <a:pt x="958" y="4055"/>
                </a:lnTo>
                <a:lnTo>
                  <a:pt x="824" y="4055"/>
                </a:lnTo>
                <a:lnTo>
                  <a:pt x="824" y="3880"/>
                </a:lnTo>
                <a:lnTo>
                  <a:pt x="958" y="3880"/>
                </a:lnTo>
                <a:close/>
                <a:moveTo>
                  <a:pt x="958" y="3575"/>
                </a:moveTo>
                <a:lnTo>
                  <a:pt x="958" y="3747"/>
                </a:lnTo>
                <a:lnTo>
                  <a:pt x="824" y="3747"/>
                </a:lnTo>
                <a:lnTo>
                  <a:pt x="824" y="3575"/>
                </a:lnTo>
                <a:lnTo>
                  <a:pt x="958" y="3575"/>
                </a:lnTo>
                <a:close/>
                <a:moveTo>
                  <a:pt x="1241" y="3880"/>
                </a:moveTo>
                <a:lnTo>
                  <a:pt x="1241" y="4055"/>
                </a:lnTo>
                <a:lnTo>
                  <a:pt x="1107" y="4055"/>
                </a:lnTo>
                <a:lnTo>
                  <a:pt x="1107" y="3880"/>
                </a:lnTo>
                <a:lnTo>
                  <a:pt x="1241" y="3880"/>
                </a:lnTo>
                <a:close/>
                <a:moveTo>
                  <a:pt x="1241" y="3575"/>
                </a:moveTo>
                <a:lnTo>
                  <a:pt x="1241" y="3747"/>
                </a:lnTo>
                <a:lnTo>
                  <a:pt x="1107" y="3747"/>
                </a:lnTo>
                <a:lnTo>
                  <a:pt x="1107" y="3575"/>
                </a:lnTo>
                <a:lnTo>
                  <a:pt x="1241" y="3575"/>
                </a:lnTo>
                <a:close/>
                <a:moveTo>
                  <a:pt x="1524" y="3880"/>
                </a:moveTo>
                <a:lnTo>
                  <a:pt x="1524" y="4055"/>
                </a:lnTo>
                <a:lnTo>
                  <a:pt x="1390" y="4055"/>
                </a:lnTo>
                <a:lnTo>
                  <a:pt x="1390" y="3880"/>
                </a:lnTo>
                <a:lnTo>
                  <a:pt x="1524" y="3880"/>
                </a:lnTo>
                <a:close/>
                <a:moveTo>
                  <a:pt x="1524" y="3575"/>
                </a:moveTo>
                <a:lnTo>
                  <a:pt x="1524" y="3747"/>
                </a:lnTo>
                <a:lnTo>
                  <a:pt x="1390" y="3747"/>
                </a:lnTo>
                <a:lnTo>
                  <a:pt x="1390" y="3575"/>
                </a:lnTo>
                <a:lnTo>
                  <a:pt x="1524" y="3575"/>
                </a:lnTo>
                <a:close/>
                <a:moveTo>
                  <a:pt x="673" y="3880"/>
                </a:moveTo>
                <a:lnTo>
                  <a:pt x="673" y="4055"/>
                </a:lnTo>
                <a:lnTo>
                  <a:pt x="540" y="4055"/>
                </a:lnTo>
                <a:lnTo>
                  <a:pt x="540" y="3880"/>
                </a:lnTo>
                <a:lnTo>
                  <a:pt x="673" y="3880"/>
                </a:lnTo>
                <a:close/>
                <a:moveTo>
                  <a:pt x="673" y="3575"/>
                </a:moveTo>
                <a:lnTo>
                  <a:pt x="673" y="3747"/>
                </a:lnTo>
                <a:lnTo>
                  <a:pt x="540" y="3747"/>
                </a:lnTo>
                <a:lnTo>
                  <a:pt x="540" y="3575"/>
                </a:lnTo>
                <a:lnTo>
                  <a:pt x="673" y="3575"/>
                </a:lnTo>
                <a:close/>
                <a:moveTo>
                  <a:pt x="1808" y="3880"/>
                </a:moveTo>
                <a:lnTo>
                  <a:pt x="1808" y="4055"/>
                </a:lnTo>
                <a:lnTo>
                  <a:pt x="1675" y="4055"/>
                </a:lnTo>
                <a:lnTo>
                  <a:pt x="1675" y="3880"/>
                </a:lnTo>
                <a:lnTo>
                  <a:pt x="1808" y="3880"/>
                </a:lnTo>
                <a:close/>
                <a:moveTo>
                  <a:pt x="1808" y="3575"/>
                </a:moveTo>
                <a:lnTo>
                  <a:pt x="1808" y="3747"/>
                </a:lnTo>
                <a:lnTo>
                  <a:pt x="1675" y="3747"/>
                </a:lnTo>
                <a:lnTo>
                  <a:pt x="1675" y="3575"/>
                </a:lnTo>
                <a:lnTo>
                  <a:pt x="1808" y="3575"/>
                </a:lnTo>
                <a:close/>
                <a:moveTo>
                  <a:pt x="3997" y="3575"/>
                </a:moveTo>
                <a:lnTo>
                  <a:pt x="3997" y="3747"/>
                </a:lnTo>
                <a:lnTo>
                  <a:pt x="3863" y="3747"/>
                </a:lnTo>
                <a:lnTo>
                  <a:pt x="3863" y="3575"/>
                </a:lnTo>
                <a:lnTo>
                  <a:pt x="3997" y="3575"/>
                </a:lnTo>
                <a:close/>
                <a:moveTo>
                  <a:pt x="3997" y="3880"/>
                </a:moveTo>
                <a:lnTo>
                  <a:pt x="3997" y="4055"/>
                </a:lnTo>
                <a:lnTo>
                  <a:pt x="3863" y="4055"/>
                </a:lnTo>
                <a:lnTo>
                  <a:pt x="3863" y="3880"/>
                </a:lnTo>
                <a:lnTo>
                  <a:pt x="3997" y="3880"/>
                </a:lnTo>
                <a:close/>
                <a:moveTo>
                  <a:pt x="2863" y="3575"/>
                </a:moveTo>
                <a:lnTo>
                  <a:pt x="2863" y="3747"/>
                </a:lnTo>
                <a:lnTo>
                  <a:pt x="2729" y="3747"/>
                </a:lnTo>
                <a:lnTo>
                  <a:pt x="2729" y="3575"/>
                </a:lnTo>
                <a:lnTo>
                  <a:pt x="2863" y="3575"/>
                </a:lnTo>
                <a:close/>
                <a:moveTo>
                  <a:pt x="2863" y="3880"/>
                </a:moveTo>
                <a:lnTo>
                  <a:pt x="2863" y="4055"/>
                </a:lnTo>
                <a:lnTo>
                  <a:pt x="2729" y="4055"/>
                </a:lnTo>
                <a:lnTo>
                  <a:pt x="2729" y="3880"/>
                </a:lnTo>
                <a:lnTo>
                  <a:pt x="2863" y="3880"/>
                </a:lnTo>
                <a:close/>
                <a:moveTo>
                  <a:pt x="3714" y="3575"/>
                </a:moveTo>
                <a:lnTo>
                  <a:pt x="3714" y="3747"/>
                </a:lnTo>
                <a:lnTo>
                  <a:pt x="3580" y="3747"/>
                </a:lnTo>
                <a:lnTo>
                  <a:pt x="3580" y="3575"/>
                </a:lnTo>
                <a:lnTo>
                  <a:pt x="3714" y="3575"/>
                </a:lnTo>
                <a:close/>
                <a:moveTo>
                  <a:pt x="3714" y="3880"/>
                </a:moveTo>
                <a:lnTo>
                  <a:pt x="3714" y="4055"/>
                </a:lnTo>
                <a:lnTo>
                  <a:pt x="3580" y="4055"/>
                </a:lnTo>
                <a:lnTo>
                  <a:pt x="3580" y="3880"/>
                </a:lnTo>
                <a:lnTo>
                  <a:pt x="3714" y="3880"/>
                </a:lnTo>
                <a:close/>
                <a:moveTo>
                  <a:pt x="3430" y="3575"/>
                </a:moveTo>
                <a:lnTo>
                  <a:pt x="3430" y="3747"/>
                </a:lnTo>
                <a:lnTo>
                  <a:pt x="3297" y="3747"/>
                </a:lnTo>
                <a:lnTo>
                  <a:pt x="3297" y="3575"/>
                </a:lnTo>
                <a:lnTo>
                  <a:pt x="3430" y="3575"/>
                </a:lnTo>
                <a:close/>
                <a:moveTo>
                  <a:pt x="3430" y="3880"/>
                </a:moveTo>
                <a:lnTo>
                  <a:pt x="3430" y="4055"/>
                </a:lnTo>
                <a:lnTo>
                  <a:pt x="3297" y="4055"/>
                </a:lnTo>
                <a:lnTo>
                  <a:pt x="3297" y="3880"/>
                </a:lnTo>
                <a:lnTo>
                  <a:pt x="3430" y="3880"/>
                </a:lnTo>
                <a:close/>
                <a:moveTo>
                  <a:pt x="3146" y="3575"/>
                </a:moveTo>
                <a:lnTo>
                  <a:pt x="3146" y="3747"/>
                </a:lnTo>
                <a:lnTo>
                  <a:pt x="3012" y="3747"/>
                </a:lnTo>
                <a:lnTo>
                  <a:pt x="3012" y="3575"/>
                </a:lnTo>
                <a:lnTo>
                  <a:pt x="3146" y="3575"/>
                </a:lnTo>
                <a:close/>
                <a:moveTo>
                  <a:pt x="3146" y="3880"/>
                </a:moveTo>
                <a:lnTo>
                  <a:pt x="3146" y="4055"/>
                </a:lnTo>
                <a:lnTo>
                  <a:pt x="3012" y="4055"/>
                </a:lnTo>
                <a:lnTo>
                  <a:pt x="3012" y="3880"/>
                </a:lnTo>
                <a:lnTo>
                  <a:pt x="3146" y="3880"/>
                </a:lnTo>
                <a:close/>
                <a:moveTo>
                  <a:pt x="2441" y="4055"/>
                </a:moveTo>
                <a:lnTo>
                  <a:pt x="2441" y="3296"/>
                </a:lnTo>
                <a:lnTo>
                  <a:pt x="4286" y="3296"/>
                </a:lnTo>
                <a:lnTo>
                  <a:pt x="4286" y="4055"/>
                </a:lnTo>
                <a:lnTo>
                  <a:pt x="4153" y="4055"/>
                </a:lnTo>
                <a:lnTo>
                  <a:pt x="4153" y="3429"/>
                </a:lnTo>
                <a:lnTo>
                  <a:pt x="2575" y="3429"/>
                </a:lnTo>
                <a:lnTo>
                  <a:pt x="2575" y="4055"/>
                </a:lnTo>
                <a:lnTo>
                  <a:pt x="2441" y="4055"/>
                </a:lnTo>
                <a:close/>
                <a:moveTo>
                  <a:pt x="2649" y="3177"/>
                </a:moveTo>
                <a:lnTo>
                  <a:pt x="2678" y="2658"/>
                </a:lnTo>
                <a:lnTo>
                  <a:pt x="2968" y="2658"/>
                </a:lnTo>
                <a:lnTo>
                  <a:pt x="2996" y="3177"/>
                </a:lnTo>
                <a:lnTo>
                  <a:pt x="2863" y="3177"/>
                </a:lnTo>
                <a:lnTo>
                  <a:pt x="2843" y="2791"/>
                </a:lnTo>
                <a:lnTo>
                  <a:pt x="2803" y="2791"/>
                </a:lnTo>
                <a:lnTo>
                  <a:pt x="2783" y="3177"/>
                </a:lnTo>
                <a:lnTo>
                  <a:pt x="2649" y="3177"/>
                </a:lnTo>
                <a:close/>
                <a:moveTo>
                  <a:pt x="3077" y="3177"/>
                </a:moveTo>
                <a:lnTo>
                  <a:pt x="3106" y="2658"/>
                </a:lnTo>
                <a:lnTo>
                  <a:pt x="3394" y="2658"/>
                </a:lnTo>
                <a:lnTo>
                  <a:pt x="3422" y="3177"/>
                </a:lnTo>
                <a:lnTo>
                  <a:pt x="3289" y="3177"/>
                </a:lnTo>
                <a:lnTo>
                  <a:pt x="3269" y="2791"/>
                </a:lnTo>
                <a:lnTo>
                  <a:pt x="3231" y="2791"/>
                </a:lnTo>
                <a:lnTo>
                  <a:pt x="3211" y="3177"/>
                </a:lnTo>
                <a:lnTo>
                  <a:pt x="3077" y="3177"/>
                </a:lnTo>
                <a:close/>
              </a:path>
            </a:pathLst>
          </a:custGeom>
          <a:solidFill>
            <a:srgbClr val="0E80A5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66" name="Freeform 78"/>
          <p:cNvSpPr>
            <a:spLocks noChangeAspect="1" noEditPoints="1"/>
          </p:cNvSpPr>
          <p:nvPr/>
        </p:nvSpPr>
        <p:spPr bwMode="auto">
          <a:xfrm>
            <a:off x="562574" y="3781975"/>
            <a:ext cx="411768" cy="409189"/>
          </a:xfrm>
          <a:custGeom>
            <a:avLst/>
            <a:gdLst>
              <a:gd name="T0" fmla="*/ 2147483647 w 4790"/>
              <a:gd name="T1" fmla="*/ 2147483647 h 4763"/>
              <a:gd name="T2" fmla="*/ 2147483647 w 4790"/>
              <a:gd name="T3" fmla="*/ 2147483647 h 4763"/>
              <a:gd name="T4" fmla="*/ 2147483647 w 4790"/>
              <a:gd name="T5" fmla="*/ 2147483647 h 4763"/>
              <a:gd name="T6" fmla="*/ 2147483647 w 4790"/>
              <a:gd name="T7" fmla="*/ 2147483647 h 4763"/>
              <a:gd name="T8" fmla="*/ 2147483647 w 4790"/>
              <a:gd name="T9" fmla="*/ 2147483647 h 4763"/>
              <a:gd name="T10" fmla="*/ 2147483647 w 4790"/>
              <a:gd name="T11" fmla="*/ 2147483647 h 4763"/>
              <a:gd name="T12" fmla="*/ 2147483647 w 4790"/>
              <a:gd name="T13" fmla="*/ 2147483647 h 4763"/>
              <a:gd name="T14" fmla="*/ 2147483647 w 4790"/>
              <a:gd name="T15" fmla="*/ 2147483647 h 4763"/>
              <a:gd name="T16" fmla="*/ 2147483647 w 4790"/>
              <a:gd name="T17" fmla="*/ 2147483647 h 4763"/>
              <a:gd name="T18" fmla="*/ 2147483647 w 4790"/>
              <a:gd name="T19" fmla="*/ 2147483647 h 4763"/>
              <a:gd name="T20" fmla="*/ 2147483647 w 4790"/>
              <a:gd name="T21" fmla="*/ 2147483647 h 4763"/>
              <a:gd name="T22" fmla="*/ 2147483647 w 4790"/>
              <a:gd name="T23" fmla="*/ 2147483647 h 4763"/>
              <a:gd name="T24" fmla="*/ 2147483647 w 4790"/>
              <a:gd name="T25" fmla="*/ 2147483647 h 4763"/>
              <a:gd name="T26" fmla="*/ 2147483647 w 4790"/>
              <a:gd name="T27" fmla="*/ 2147483647 h 4763"/>
              <a:gd name="T28" fmla="*/ 2147483647 w 4790"/>
              <a:gd name="T29" fmla="*/ 2147483647 h 4763"/>
              <a:gd name="T30" fmla="*/ 2147483647 w 4790"/>
              <a:gd name="T31" fmla="*/ 0 h 4763"/>
              <a:gd name="T32" fmla="*/ 2147483647 w 4790"/>
              <a:gd name="T33" fmla="*/ 2147483647 h 4763"/>
              <a:gd name="T34" fmla="*/ 2147483647 w 4790"/>
              <a:gd name="T35" fmla="*/ 2147483647 h 4763"/>
              <a:gd name="T36" fmla="*/ 2147483647 w 4790"/>
              <a:gd name="T37" fmla="*/ 2147483647 h 4763"/>
              <a:gd name="T38" fmla="*/ 2147483647 w 4790"/>
              <a:gd name="T39" fmla="*/ 2147483647 h 4763"/>
              <a:gd name="T40" fmla="*/ 2147483647 w 4790"/>
              <a:gd name="T41" fmla="*/ 2147483647 h 4763"/>
              <a:gd name="T42" fmla="*/ 2147483647 w 4790"/>
              <a:gd name="T43" fmla="*/ 2147483647 h 4763"/>
              <a:gd name="T44" fmla="*/ 2147483647 w 4790"/>
              <a:gd name="T45" fmla="*/ 2147483647 h 4763"/>
              <a:gd name="T46" fmla="*/ 2147483647 w 4790"/>
              <a:gd name="T47" fmla="*/ 2147483647 h 4763"/>
              <a:gd name="T48" fmla="*/ 2147483647 w 4790"/>
              <a:gd name="T49" fmla="*/ 2147483647 h 4763"/>
              <a:gd name="T50" fmla="*/ 2147483647 w 4790"/>
              <a:gd name="T51" fmla="*/ 2147483647 h 4763"/>
              <a:gd name="T52" fmla="*/ 2147483647 w 4790"/>
              <a:gd name="T53" fmla="*/ 2147483647 h 4763"/>
              <a:gd name="T54" fmla="*/ 2147483647 w 4790"/>
              <a:gd name="T55" fmla="*/ 2147483647 h 4763"/>
              <a:gd name="T56" fmla="*/ 2147483647 w 4790"/>
              <a:gd name="T57" fmla="*/ 2147483647 h 4763"/>
              <a:gd name="T58" fmla="*/ 2147483647 w 4790"/>
              <a:gd name="T59" fmla="*/ 2147483647 h 4763"/>
              <a:gd name="T60" fmla="*/ 2147483647 w 4790"/>
              <a:gd name="T61" fmla="*/ 2147483647 h 4763"/>
              <a:gd name="T62" fmla="*/ 2147483647 w 4790"/>
              <a:gd name="T63" fmla="*/ 2147483647 h 4763"/>
              <a:gd name="T64" fmla="*/ 2147483647 w 4790"/>
              <a:gd name="T65" fmla="*/ 2147483647 h 4763"/>
              <a:gd name="T66" fmla="*/ 2147483647 w 4790"/>
              <a:gd name="T67" fmla="*/ 2147483647 h 4763"/>
              <a:gd name="T68" fmla="*/ 2147483647 w 4790"/>
              <a:gd name="T69" fmla="*/ 2147483647 h 4763"/>
              <a:gd name="T70" fmla="*/ 2147483647 w 4790"/>
              <a:gd name="T71" fmla="*/ 2147483647 h 4763"/>
              <a:gd name="T72" fmla="*/ 2147483647 w 4790"/>
              <a:gd name="T73" fmla="*/ 2147483647 h 4763"/>
              <a:gd name="T74" fmla="*/ 2147483647 w 4790"/>
              <a:gd name="T75" fmla="*/ 2147483647 h 4763"/>
              <a:gd name="T76" fmla="*/ 2147483647 w 4790"/>
              <a:gd name="T77" fmla="*/ 2147483647 h 4763"/>
              <a:gd name="T78" fmla="*/ 2147483647 w 4790"/>
              <a:gd name="T79" fmla="*/ 2147483647 h 4763"/>
              <a:gd name="T80" fmla="*/ 2147483647 w 4790"/>
              <a:gd name="T81" fmla="*/ 2147483647 h 4763"/>
              <a:gd name="T82" fmla="*/ 2147483647 w 4790"/>
              <a:gd name="T83" fmla="*/ 2147483647 h 4763"/>
              <a:gd name="T84" fmla="*/ 2147483647 w 4790"/>
              <a:gd name="T85" fmla="*/ 2147483647 h 4763"/>
              <a:gd name="T86" fmla="*/ 2147483647 w 4790"/>
              <a:gd name="T87" fmla="*/ 2147483647 h 4763"/>
              <a:gd name="T88" fmla="*/ 2147483647 w 4790"/>
              <a:gd name="T89" fmla="*/ 2147483647 h 4763"/>
              <a:gd name="T90" fmla="*/ 2147483647 w 4790"/>
              <a:gd name="T91" fmla="*/ 2147483647 h 4763"/>
              <a:gd name="T92" fmla="*/ 2147483647 w 4790"/>
              <a:gd name="T93" fmla="*/ 2147483647 h 4763"/>
              <a:gd name="T94" fmla="*/ 2147483647 w 4790"/>
              <a:gd name="T95" fmla="*/ 2147483647 h 4763"/>
              <a:gd name="T96" fmla="*/ 2147483647 w 4790"/>
              <a:gd name="T97" fmla="*/ 2147483647 h 4763"/>
              <a:gd name="T98" fmla="*/ 2147483647 w 4790"/>
              <a:gd name="T99" fmla="*/ 2147483647 h 4763"/>
              <a:gd name="T100" fmla="*/ 2147483647 w 4790"/>
              <a:gd name="T101" fmla="*/ 2147483647 h 4763"/>
              <a:gd name="T102" fmla="*/ 2147483647 w 4790"/>
              <a:gd name="T103" fmla="*/ 2147483647 h 4763"/>
              <a:gd name="T104" fmla="*/ 2147483647 w 4790"/>
              <a:gd name="T105" fmla="*/ 2147483647 h 4763"/>
              <a:gd name="T106" fmla="*/ 2147483647 w 4790"/>
              <a:gd name="T107" fmla="*/ 2147483647 h 4763"/>
              <a:gd name="T108" fmla="*/ 2147483647 w 4790"/>
              <a:gd name="T109" fmla="*/ 2147483647 h 4763"/>
              <a:gd name="T110" fmla="*/ 2147483647 w 4790"/>
              <a:gd name="T111" fmla="*/ 2147483647 h 4763"/>
              <a:gd name="T112" fmla="*/ 2147483647 w 4790"/>
              <a:gd name="T113" fmla="*/ 2147483647 h 4763"/>
              <a:gd name="T114" fmla="*/ 2147483647 w 4790"/>
              <a:gd name="T115" fmla="*/ 2147483647 h 4763"/>
              <a:gd name="T116" fmla="*/ 2147483647 w 4790"/>
              <a:gd name="T117" fmla="*/ 2147483647 h 4763"/>
              <a:gd name="T118" fmla="*/ 2147483647 w 4790"/>
              <a:gd name="T119" fmla="*/ 2147483647 h 4763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4790"/>
              <a:gd name="T181" fmla="*/ 0 h 4763"/>
              <a:gd name="T182" fmla="*/ 4790 w 4790"/>
              <a:gd name="T183" fmla="*/ 4763 h 4763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4790" h="4763">
                <a:moveTo>
                  <a:pt x="2669" y="862"/>
                </a:moveTo>
                <a:lnTo>
                  <a:pt x="2669" y="1219"/>
                </a:lnTo>
                <a:lnTo>
                  <a:pt x="2569" y="1219"/>
                </a:lnTo>
                <a:lnTo>
                  <a:pt x="2569" y="862"/>
                </a:lnTo>
                <a:lnTo>
                  <a:pt x="2669" y="862"/>
                </a:lnTo>
                <a:close/>
                <a:moveTo>
                  <a:pt x="2441" y="862"/>
                </a:moveTo>
                <a:lnTo>
                  <a:pt x="2441" y="1219"/>
                </a:lnTo>
                <a:lnTo>
                  <a:pt x="2341" y="1219"/>
                </a:lnTo>
                <a:lnTo>
                  <a:pt x="2341" y="862"/>
                </a:lnTo>
                <a:lnTo>
                  <a:pt x="2441" y="862"/>
                </a:lnTo>
                <a:close/>
                <a:moveTo>
                  <a:pt x="2214" y="862"/>
                </a:moveTo>
                <a:lnTo>
                  <a:pt x="2214" y="1219"/>
                </a:lnTo>
                <a:lnTo>
                  <a:pt x="2115" y="1219"/>
                </a:lnTo>
                <a:lnTo>
                  <a:pt x="2115" y="862"/>
                </a:lnTo>
                <a:lnTo>
                  <a:pt x="2214" y="862"/>
                </a:lnTo>
                <a:close/>
                <a:moveTo>
                  <a:pt x="2081" y="2490"/>
                </a:moveTo>
                <a:lnTo>
                  <a:pt x="1783" y="973"/>
                </a:lnTo>
                <a:lnTo>
                  <a:pt x="2029" y="973"/>
                </a:lnTo>
                <a:lnTo>
                  <a:pt x="2029" y="1072"/>
                </a:lnTo>
                <a:lnTo>
                  <a:pt x="1904" y="1072"/>
                </a:lnTo>
                <a:lnTo>
                  <a:pt x="2178" y="2471"/>
                </a:lnTo>
                <a:lnTo>
                  <a:pt x="2081" y="2490"/>
                </a:lnTo>
                <a:close/>
                <a:moveTo>
                  <a:pt x="2345" y="3271"/>
                </a:moveTo>
                <a:lnTo>
                  <a:pt x="2345" y="2596"/>
                </a:lnTo>
                <a:lnTo>
                  <a:pt x="2445" y="2596"/>
                </a:lnTo>
                <a:lnTo>
                  <a:pt x="2445" y="3271"/>
                </a:lnTo>
                <a:lnTo>
                  <a:pt x="2345" y="3271"/>
                </a:lnTo>
                <a:close/>
                <a:moveTo>
                  <a:pt x="1627" y="3271"/>
                </a:moveTo>
                <a:lnTo>
                  <a:pt x="1627" y="2698"/>
                </a:lnTo>
                <a:lnTo>
                  <a:pt x="1588" y="2673"/>
                </a:lnTo>
                <a:lnTo>
                  <a:pt x="1551" y="2648"/>
                </a:lnTo>
                <a:lnTo>
                  <a:pt x="1513" y="2621"/>
                </a:lnTo>
                <a:lnTo>
                  <a:pt x="1478" y="2592"/>
                </a:lnTo>
                <a:lnTo>
                  <a:pt x="1443" y="2563"/>
                </a:lnTo>
                <a:lnTo>
                  <a:pt x="1409" y="2533"/>
                </a:lnTo>
                <a:lnTo>
                  <a:pt x="1376" y="2502"/>
                </a:lnTo>
                <a:lnTo>
                  <a:pt x="1344" y="2470"/>
                </a:lnTo>
                <a:lnTo>
                  <a:pt x="1313" y="2436"/>
                </a:lnTo>
                <a:lnTo>
                  <a:pt x="1283" y="2403"/>
                </a:lnTo>
                <a:lnTo>
                  <a:pt x="1254" y="2367"/>
                </a:lnTo>
                <a:lnTo>
                  <a:pt x="1227" y="2330"/>
                </a:lnTo>
                <a:lnTo>
                  <a:pt x="1199" y="2294"/>
                </a:lnTo>
                <a:lnTo>
                  <a:pt x="1174" y="2256"/>
                </a:lnTo>
                <a:lnTo>
                  <a:pt x="1150" y="2217"/>
                </a:lnTo>
                <a:lnTo>
                  <a:pt x="1126" y="2178"/>
                </a:lnTo>
                <a:lnTo>
                  <a:pt x="1105" y="2139"/>
                </a:lnTo>
                <a:lnTo>
                  <a:pt x="1084" y="2098"/>
                </a:lnTo>
                <a:lnTo>
                  <a:pt x="1064" y="2055"/>
                </a:lnTo>
                <a:lnTo>
                  <a:pt x="1046" y="2013"/>
                </a:lnTo>
                <a:lnTo>
                  <a:pt x="1029" y="1970"/>
                </a:lnTo>
                <a:lnTo>
                  <a:pt x="1014" y="1926"/>
                </a:lnTo>
                <a:lnTo>
                  <a:pt x="999" y="1882"/>
                </a:lnTo>
                <a:lnTo>
                  <a:pt x="986" y="1837"/>
                </a:lnTo>
                <a:lnTo>
                  <a:pt x="975" y="1791"/>
                </a:lnTo>
                <a:lnTo>
                  <a:pt x="965" y="1745"/>
                </a:lnTo>
                <a:lnTo>
                  <a:pt x="957" y="1699"/>
                </a:lnTo>
                <a:lnTo>
                  <a:pt x="949" y="1652"/>
                </a:lnTo>
                <a:lnTo>
                  <a:pt x="944" y="1604"/>
                </a:lnTo>
                <a:lnTo>
                  <a:pt x="940" y="1556"/>
                </a:lnTo>
                <a:lnTo>
                  <a:pt x="938" y="1507"/>
                </a:lnTo>
                <a:lnTo>
                  <a:pt x="937" y="1459"/>
                </a:lnTo>
                <a:lnTo>
                  <a:pt x="938" y="1421"/>
                </a:lnTo>
                <a:lnTo>
                  <a:pt x="939" y="1384"/>
                </a:lnTo>
                <a:lnTo>
                  <a:pt x="942" y="1346"/>
                </a:lnTo>
                <a:lnTo>
                  <a:pt x="944" y="1309"/>
                </a:lnTo>
                <a:lnTo>
                  <a:pt x="949" y="1273"/>
                </a:lnTo>
                <a:lnTo>
                  <a:pt x="954" y="1237"/>
                </a:lnTo>
                <a:lnTo>
                  <a:pt x="959" y="1201"/>
                </a:lnTo>
                <a:lnTo>
                  <a:pt x="966" y="1165"/>
                </a:lnTo>
                <a:lnTo>
                  <a:pt x="974" y="1130"/>
                </a:lnTo>
                <a:lnTo>
                  <a:pt x="983" y="1094"/>
                </a:lnTo>
                <a:lnTo>
                  <a:pt x="993" y="1060"/>
                </a:lnTo>
                <a:lnTo>
                  <a:pt x="1003" y="1025"/>
                </a:lnTo>
                <a:lnTo>
                  <a:pt x="1014" y="991"/>
                </a:lnTo>
                <a:lnTo>
                  <a:pt x="1025" y="957"/>
                </a:lnTo>
                <a:lnTo>
                  <a:pt x="1037" y="924"/>
                </a:lnTo>
                <a:lnTo>
                  <a:pt x="1051" y="891"/>
                </a:lnTo>
                <a:lnTo>
                  <a:pt x="1066" y="858"/>
                </a:lnTo>
                <a:lnTo>
                  <a:pt x="1081" y="826"/>
                </a:lnTo>
                <a:lnTo>
                  <a:pt x="1096" y="795"/>
                </a:lnTo>
                <a:lnTo>
                  <a:pt x="1113" y="764"/>
                </a:lnTo>
                <a:lnTo>
                  <a:pt x="1130" y="732"/>
                </a:lnTo>
                <a:lnTo>
                  <a:pt x="1148" y="702"/>
                </a:lnTo>
                <a:lnTo>
                  <a:pt x="1167" y="673"/>
                </a:lnTo>
                <a:lnTo>
                  <a:pt x="1186" y="643"/>
                </a:lnTo>
                <a:lnTo>
                  <a:pt x="1206" y="614"/>
                </a:lnTo>
                <a:lnTo>
                  <a:pt x="1227" y="587"/>
                </a:lnTo>
                <a:lnTo>
                  <a:pt x="1248" y="558"/>
                </a:lnTo>
                <a:lnTo>
                  <a:pt x="1270" y="531"/>
                </a:lnTo>
                <a:lnTo>
                  <a:pt x="1293" y="504"/>
                </a:lnTo>
                <a:lnTo>
                  <a:pt x="1315" y="478"/>
                </a:lnTo>
                <a:lnTo>
                  <a:pt x="1340" y="452"/>
                </a:lnTo>
                <a:lnTo>
                  <a:pt x="1364" y="427"/>
                </a:lnTo>
                <a:lnTo>
                  <a:pt x="1389" y="402"/>
                </a:lnTo>
                <a:lnTo>
                  <a:pt x="1415" y="379"/>
                </a:lnTo>
                <a:lnTo>
                  <a:pt x="1441" y="356"/>
                </a:lnTo>
                <a:lnTo>
                  <a:pt x="1467" y="334"/>
                </a:lnTo>
                <a:lnTo>
                  <a:pt x="1495" y="311"/>
                </a:lnTo>
                <a:lnTo>
                  <a:pt x="1523" y="290"/>
                </a:lnTo>
                <a:lnTo>
                  <a:pt x="1551" y="269"/>
                </a:lnTo>
                <a:lnTo>
                  <a:pt x="1579" y="249"/>
                </a:lnTo>
                <a:lnTo>
                  <a:pt x="1609" y="230"/>
                </a:lnTo>
                <a:lnTo>
                  <a:pt x="1639" y="212"/>
                </a:lnTo>
                <a:lnTo>
                  <a:pt x="1669" y="193"/>
                </a:lnTo>
                <a:lnTo>
                  <a:pt x="1700" y="176"/>
                </a:lnTo>
                <a:lnTo>
                  <a:pt x="1731" y="159"/>
                </a:lnTo>
                <a:lnTo>
                  <a:pt x="1762" y="144"/>
                </a:lnTo>
                <a:lnTo>
                  <a:pt x="1795" y="130"/>
                </a:lnTo>
                <a:lnTo>
                  <a:pt x="1827" y="115"/>
                </a:lnTo>
                <a:lnTo>
                  <a:pt x="1861" y="101"/>
                </a:lnTo>
                <a:lnTo>
                  <a:pt x="1894" y="88"/>
                </a:lnTo>
                <a:lnTo>
                  <a:pt x="1928" y="77"/>
                </a:lnTo>
                <a:lnTo>
                  <a:pt x="1962" y="66"/>
                </a:lnTo>
                <a:lnTo>
                  <a:pt x="1996" y="56"/>
                </a:lnTo>
                <a:lnTo>
                  <a:pt x="2030" y="46"/>
                </a:lnTo>
                <a:lnTo>
                  <a:pt x="2066" y="37"/>
                </a:lnTo>
                <a:lnTo>
                  <a:pt x="2101" y="30"/>
                </a:lnTo>
                <a:lnTo>
                  <a:pt x="2137" y="22"/>
                </a:lnTo>
                <a:lnTo>
                  <a:pt x="2173" y="17"/>
                </a:lnTo>
                <a:lnTo>
                  <a:pt x="2209" y="12"/>
                </a:lnTo>
                <a:lnTo>
                  <a:pt x="2246" y="7"/>
                </a:lnTo>
                <a:lnTo>
                  <a:pt x="2283" y="5"/>
                </a:lnTo>
                <a:lnTo>
                  <a:pt x="2320" y="2"/>
                </a:lnTo>
                <a:lnTo>
                  <a:pt x="2358" y="1"/>
                </a:lnTo>
                <a:lnTo>
                  <a:pt x="2395" y="0"/>
                </a:lnTo>
                <a:lnTo>
                  <a:pt x="2432" y="1"/>
                </a:lnTo>
                <a:lnTo>
                  <a:pt x="2470" y="2"/>
                </a:lnTo>
                <a:lnTo>
                  <a:pt x="2507" y="5"/>
                </a:lnTo>
                <a:lnTo>
                  <a:pt x="2544" y="7"/>
                </a:lnTo>
                <a:lnTo>
                  <a:pt x="2581" y="12"/>
                </a:lnTo>
                <a:lnTo>
                  <a:pt x="2617" y="17"/>
                </a:lnTo>
                <a:lnTo>
                  <a:pt x="2653" y="22"/>
                </a:lnTo>
                <a:lnTo>
                  <a:pt x="2689" y="30"/>
                </a:lnTo>
                <a:lnTo>
                  <a:pt x="2725" y="37"/>
                </a:lnTo>
                <a:lnTo>
                  <a:pt x="2760" y="46"/>
                </a:lnTo>
                <a:lnTo>
                  <a:pt x="2795" y="56"/>
                </a:lnTo>
                <a:lnTo>
                  <a:pt x="2828" y="66"/>
                </a:lnTo>
                <a:lnTo>
                  <a:pt x="2863" y="77"/>
                </a:lnTo>
                <a:lnTo>
                  <a:pt x="2897" y="88"/>
                </a:lnTo>
                <a:lnTo>
                  <a:pt x="2929" y="101"/>
                </a:lnTo>
                <a:lnTo>
                  <a:pt x="2963" y="115"/>
                </a:lnTo>
                <a:lnTo>
                  <a:pt x="2995" y="130"/>
                </a:lnTo>
                <a:lnTo>
                  <a:pt x="3028" y="144"/>
                </a:lnTo>
                <a:lnTo>
                  <a:pt x="3059" y="159"/>
                </a:lnTo>
                <a:lnTo>
                  <a:pt x="3090" y="176"/>
                </a:lnTo>
                <a:lnTo>
                  <a:pt x="3121" y="193"/>
                </a:lnTo>
                <a:lnTo>
                  <a:pt x="3151" y="212"/>
                </a:lnTo>
                <a:lnTo>
                  <a:pt x="3181" y="230"/>
                </a:lnTo>
                <a:lnTo>
                  <a:pt x="3211" y="249"/>
                </a:lnTo>
                <a:lnTo>
                  <a:pt x="3239" y="269"/>
                </a:lnTo>
                <a:lnTo>
                  <a:pt x="3268" y="290"/>
                </a:lnTo>
                <a:lnTo>
                  <a:pt x="3295" y="311"/>
                </a:lnTo>
                <a:lnTo>
                  <a:pt x="3323" y="334"/>
                </a:lnTo>
                <a:lnTo>
                  <a:pt x="3349" y="356"/>
                </a:lnTo>
                <a:lnTo>
                  <a:pt x="3375" y="379"/>
                </a:lnTo>
                <a:lnTo>
                  <a:pt x="3401" y="402"/>
                </a:lnTo>
                <a:lnTo>
                  <a:pt x="3426" y="427"/>
                </a:lnTo>
                <a:lnTo>
                  <a:pt x="3451" y="452"/>
                </a:lnTo>
                <a:lnTo>
                  <a:pt x="3475" y="478"/>
                </a:lnTo>
                <a:lnTo>
                  <a:pt x="3497" y="504"/>
                </a:lnTo>
                <a:lnTo>
                  <a:pt x="3521" y="531"/>
                </a:lnTo>
                <a:lnTo>
                  <a:pt x="3542" y="558"/>
                </a:lnTo>
                <a:lnTo>
                  <a:pt x="3563" y="587"/>
                </a:lnTo>
                <a:lnTo>
                  <a:pt x="3584" y="614"/>
                </a:lnTo>
                <a:lnTo>
                  <a:pt x="3604" y="643"/>
                </a:lnTo>
                <a:lnTo>
                  <a:pt x="3624" y="673"/>
                </a:lnTo>
                <a:lnTo>
                  <a:pt x="3642" y="702"/>
                </a:lnTo>
                <a:lnTo>
                  <a:pt x="3660" y="732"/>
                </a:lnTo>
                <a:lnTo>
                  <a:pt x="3678" y="764"/>
                </a:lnTo>
                <a:lnTo>
                  <a:pt x="3694" y="795"/>
                </a:lnTo>
                <a:lnTo>
                  <a:pt x="3710" y="826"/>
                </a:lnTo>
                <a:lnTo>
                  <a:pt x="3725" y="858"/>
                </a:lnTo>
                <a:lnTo>
                  <a:pt x="3739" y="891"/>
                </a:lnTo>
                <a:lnTo>
                  <a:pt x="3753" y="924"/>
                </a:lnTo>
                <a:lnTo>
                  <a:pt x="3765" y="957"/>
                </a:lnTo>
                <a:lnTo>
                  <a:pt x="3776" y="991"/>
                </a:lnTo>
                <a:lnTo>
                  <a:pt x="3787" y="1025"/>
                </a:lnTo>
                <a:lnTo>
                  <a:pt x="3799" y="1060"/>
                </a:lnTo>
                <a:lnTo>
                  <a:pt x="3807" y="1094"/>
                </a:lnTo>
                <a:lnTo>
                  <a:pt x="3816" y="1130"/>
                </a:lnTo>
                <a:lnTo>
                  <a:pt x="3824" y="1165"/>
                </a:lnTo>
                <a:lnTo>
                  <a:pt x="3831" y="1201"/>
                </a:lnTo>
                <a:lnTo>
                  <a:pt x="3837" y="1237"/>
                </a:lnTo>
                <a:lnTo>
                  <a:pt x="3842" y="1273"/>
                </a:lnTo>
                <a:lnTo>
                  <a:pt x="3846" y="1309"/>
                </a:lnTo>
                <a:lnTo>
                  <a:pt x="3850" y="1346"/>
                </a:lnTo>
                <a:lnTo>
                  <a:pt x="3851" y="1384"/>
                </a:lnTo>
                <a:lnTo>
                  <a:pt x="3853" y="1421"/>
                </a:lnTo>
                <a:lnTo>
                  <a:pt x="3853" y="1459"/>
                </a:lnTo>
                <a:lnTo>
                  <a:pt x="3852" y="1507"/>
                </a:lnTo>
                <a:lnTo>
                  <a:pt x="3850" y="1556"/>
                </a:lnTo>
                <a:lnTo>
                  <a:pt x="3846" y="1604"/>
                </a:lnTo>
                <a:lnTo>
                  <a:pt x="3841" y="1652"/>
                </a:lnTo>
                <a:lnTo>
                  <a:pt x="3833" y="1699"/>
                </a:lnTo>
                <a:lnTo>
                  <a:pt x="3825" y="1745"/>
                </a:lnTo>
                <a:lnTo>
                  <a:pt x="3815" y="1791"/>
                </a:lnTo>
                <a:lnTo>
                  <a:pt x="3804" y="1837"/>
                </a:lnTo>
                <a:lnTo>
                  <a:pt x="3791" y="1882"/>
                </a:lnTo>
                <a:lnTo>
                  <a:pt x="3777" y="1926"/>
                </a:lnTo>
                <a:lnTo>
                  <a:pt x="3761" y="1970"/>
                </a:lnTo>
                <a:lnTo>
                  <a:pt x="3744" y="2013"/>
                </a:lnTo>
                <a:lnTo>
                  <a:pt x="3726" y="2055"/>
                </a:lnTo>
                <a:lnTo>
                  <a:pt x="3706" y="2098"/>
                </a:lnTo>
                <a:lnTo>
                  <a:pt x="3685" y="2139"/>
                </a:lnTo>
                <a:lnTo>
                  <a:pt x="3664" y="2178"/>
                </a:lnTo>
                <a:lnTo>
                  <a:pt x="3640" y="2217"/>
                </a:lnTo>
                <a:lnTo>
                  <a:pt x="3617" y="2256"/>
                </a:lnTo>
                <a:lnTo>
                  <a:pt x="3591" y="2294"/>
                </a:lnTo>
                <a:lnTo>
                  <a:pt x="3564" y="2330"/>
                </a:lnTo>
                <a:lnTo>
                  <a:pt x="3536" y="2367"/>
                </a:lnTo>
                <a:lnTo>
                  <a:pt x="3507" y="2403"/>
                </a:lnTo>
                <a:lnTo>
                  <a:pt x="3477" y="2436"/>
                </a:lnTo>
                <a:lnTo>
                  <a:pt x="3446" y="2470"/>
                </a:lnTo>
                <a:lnTo>
                  <a:pt x="3414" y="2502"/>
                </a:lnTo>
                <a:lnTo>
                  <a:pt x="3381" y="2533"/>
                </a:lnTo>
                <a:lnTo>
                  <a:pt x="3348" y="2563"/>
                </a:lnTo>
                <a:lnTo>
                  <a:pt x="3313" y="2592"/>
                </a:lnTo>
                <a:lnTo>
                  <a:pt x="3277" y="2621"/>
                </a:lnTo>
                <a:lnTo>
                  <a:pt x="3239" y="2648"/>
                </a:lnTo>
                <a:lnTo>
                  <a:pt x="3202" y="2673"/>
                </a:lnTo>
                <a:lnTo>
                  <a:pt x="3163" y="2698"/>
                </a:lnTo>
                <a:lnTo>
                  <a:pt x="3163" y="3271"/>
                </a:lnTo>
                <a:lnTo>
                  <a:pt x="2964" y="3271"/>
                </a:lnTo>
                <a:lnTo>
                  <a:pt x="2964" y="2583"/>
                </a:lnTo>
                <a:lnTo>
                  <a:pt x="3004" y="2561"/>
                </a:lnTo>
                <a:lnTo>
                  <a:pt x="3041" y="2537"/>
                </a:lnTo>
                <a:lnTo>
                  <a:pt x="3079" y="2512"/>
                </a:lnTo>
                <a:lnTo>
                  <a:pt x="3115" y="2487"/>
                </a:lnTo>
                <a:lnTo>
                  <a:pt x="3151" y="2461"/>
                </a:lnTo>
                <a:lnTo>
                  <a:pt x="3185" y="2434"/>
                </a:lnTo>
                <a:lnTo>
                  <a:pt x="3218" y="2405"/>
                </a:lnTo>
                <a:lnTo>
                  <a:pt x="3251" y="2377"/>
                </a:lnTo>
                <a:lnTo>
                  <a:pt x="3282" y="2348"/>
                </a:lnTo>
                <a:lnTo>
                  <a:pt x="3312" y="2317"/>
                </a:lnTo>
                <a:lnTo>
                  <a:pt x="3340" y="2286"/>
                </a:lnTo>
                <a:lnTo>
                  <a:pt x="3368" y="2254"/>
                </a:lnTo>
                <a:lnTo>
                  <a:pt x="3395" y="2221"/>
                </a:lnTo>
                <a:lnTo>
                  <a:pt x="3420" y="2187"/>
                </a:lnTo>
                <a:lnTo>
                  <a:pt x="3445" y="2154"/>
                </a:lnTo>
                <a:lnTo>
                  <a:pt x="3467" y="2119"/>
                </a:lnTo>
                <a:lnTo>
                  <a:pt x="3490" y="2083"/>
                </a:lnTo>
                <a:lnTo>
                  <a:pt x="3510" y="2046"/>
                </a:lnTo>
                <a:lnTo>
                  <a:pt x="3530" y="2009"/>
                </a:lnTo>
                <a:lnTo>
                  <a:pt x="3547" y="1970"/>
                </a:lnTo>
                <a:lnTo>
                  <a:pt x="3563" y="1932"/>
                </a:lnTo>
                <a:lnTo>
                  <a:pt x="3579" y="1892"/>
                </a:lnTo>
                <a:lnTo>
                  <a:pt x="3593" y="1852"/>
                </a:lnTo>
                <a:lnTo>
                  <a:pt x="3606" y="1811"/>
                </a:lnTo>
                <a:lnTo>
                  <a:pt x="3617" y="1770"/>
                </a:lnTo>
                <a:lnTo>
                  <a:pt x="3627" y="1728"/>
                </a:lnTo>
                <a:lnTo>
                  <a:pt x="3635" y="1684"/>
                </a:lnTo>
                <a:lnTo>
                  <a:pt x="3642" y="1640"/>
                </a:lnTo>
                <a:lnTo>
                  <a:pt x="3647" y="1596"/>
                </a:lnTo>
                <a:lnTo>
                  <a:pt x="3652" y="1551"/>
                </a:lnTo>
                <a:lnTo>
                  <a:pt x="3653" y="1505"/>
                </a:lnTo>
                <a:lnTo>
                  <a:pt x="3654" y="1459"/>
                </a:lnTo>
                <a:lnTo>
                  <a:pt x="3654" y="1426"/>
                </a:lnTo>
                <a:lnTo>
                  <a:pt x="3653" y="1394"/>
                </a:lnTo>
                <a:lnTo>
                  <a:pt x="3650" y="1361"/>
                </a:lnTo>
                <a:lnTo>
                  <a:pt x="3648" y="1330"/>
                </a:lnTo>
                <a:lnTo>
                  <a:pt x="3644" y="1298"/>
                </a:lnTo>
                <a:lnTo>
                  <a:pt x="3639" y="1267"/>
                </a:lnTo>
                <a:lnTo>
                  <a:pt x="3634" y="1236"/>
                </a:lnTo>
                <a:lnTo>
                  <a:pt x="3628" y="1204"/>
                </a:lnTo>
                <a:lnTo>
                  <a:pt x="3622" y="1175"/>
                </a:lnTo>
                <a:lnTo>
                  <a:pt x="3614" y="1143"/>
                </a:lnTo>
                <a:lnTo>
                  <a:pt x="3607" y="1114"/>
                </a:lnTo>
                <a:lnTo>
                  <a:pt x="3598" y="1084"/>
                </a:lnTo>
                <a:lnTo>
                  <a:pt x="3588" y="1055"/>
                </a:lnTo>
                <a:lnTo>
                  <a:pt x="3578" y="1025"/>
                </a:lnTo>
                <a:lnTo>
                  <a:pt x="3567" y="996"/>
                </a:lnTo>
                <a:lnTo>
                  <a:pt x="3556" y="969"/>
                </a:lnTo>
                <a:lnTo>
                  <a:pt x="3543" y="940"/>
                </a:lnTo>
                <a:lnTo>
                  <a:pt x="3530" y="913"/>
                </a:lnTo>
                <a:lnTo>
                  <a:pt x="3502" y="858"/>
                </a:lnTo>
                <a:lnTo>
                  <a:pt x="3472" y="806"/>
                </a:lnTo>
                <a:lnTo>
                  <a:pt x="3439" y="755"/>
                </a:lnTo>
                <a:lnTo>
                  <a:pt x="3404" y="705"/>
                </a:lnTo>
                <a:lnTo>
                  <a:pt x="3366" y="658"/>
                </a:lnTo>
                <a:lnTo>
                  <a:pt x="3327" y="612"/>
                </a:lnTo>
                <a:lnTo>
                  <a:pt x="3285" y="568"/>
                </a:lnTo>
                <a:lnTo>
                  <a:pt x="3242" y="527"/>
                </a:lnTo>
                <a:lnTo>
                  <a:pt x="3196" y="487"/>
                </a:lnTo>
                <a:lnTo>
                  <a:pt x="3148" y="450"/>
                </a:lnTo>
                <a:lnTo>
                  <a:pt x="3099" y="415"/>
                </a:lnTo>
                <a:lnTo>
                  <a:pt x="3048" y="382"/>
                </a:lnTo>
                <a:lnTo>
                  <a:pt x="2995" y="351"/>
                </a:lnTo>
                <a:lnTo>
                  <a:pt x="2941" y="324"/>
                </a:lnTo>
                <a:lnTo>
                  <a:pt x="2913" y="310"/>
                </a:lnTo>
                <a:lnTo>
                  <a:pt x="2886" y="299"/>
                </a:lnTo>
                <a:lnTo>
                  <a:pt x="2857" y="286"/>
                </a:lnTo>
                <a:lnTo>
                  <a:pt x="2828" y="277"/>
                </a:lnTo>
                <a:lnTo>
                  <a:pt x="2799" y="265"/>
                </a:lnTo>
                <a:lnTo>
                  <a:pt x="2770" y="257"/>
                </a:lnTo>
                <a:lnTo>
                  <a:pt x="2740" y="248"/>
                </a:lnTo>
                <a:lnTo>
                  <a:pt x="2710" y="239"/>
                </a:lnTo>
                <a:lnTo>
                  <a:pt x="2679" y="232"/>
                </a:lnTo>
                <a:lnTo>
                  <a:pt x="2649" y="225"/>
                </a:lnTo>
                <a:lnTo>
                  <a:pt x="2618" y="219"/>
                </a:lnTo>
                <a:lnTo>
                  <a:pt x="2587" y="214"/>
                </a:lnTo>
                <a:lnTo>
                  <a:pt x="2556" y="209"/>
                </a:lnTo>
                <a:lnTo>
                  <a:pt x="2523" y="206"/>
                </a:lnTo>
                <a:lnTo>
                  <a:pt x="2492" y="203"/>
                </a:lnTo>
                <a:lnTo>
                  <a:pt x="2460" y="201"/>
                </a:lnTo>
                <a:lnTo>
                  <a:pt x="2427" y="201"/>
                </a:lnTo>
                <a:lnTo>
                  <a:pt x="2395" y="199"/>
                </a:lnTo>
                <a:lnTo>
                  <a:pt x="2363" y="201"/>
                </a:lnTo>
                <a:lnTo>
                  <a:pt x="2330" y="201"/>
                </a:lnTo>
                <a:lnTo>
                  <a:pt x="2298" y="203"/>
                </a:lnTo>
                <a:lnTo>
                  <a:pt x="2267" y="206"/>
                </a:lnTo>
                <a:lnTo>
                  <a:pt x="2234" y="209"/>
                </a:lnTo>
                <a:lnTo>
                  <a:pt x="2203" y="214"/>
                </a:lnTo>
                <a:lnTo>
                  <a:pt x="2172" y="219"/>
                </a:lnTo>
                <a:lnTo>
                  <a:pt x="2141" y="225"/>
                </a:lnTo>
                <a:lnTo>
                  <a:pt x="2111" y="232"/>
                </a:lnTo>
                <a:lnTo>
                  <a:pt x="2080" y="239"/>
                </a:lnTo>
                <a:lnTo>
                  <a:pt x="2050" y="248"/>
                </a:lnTo>
                <a:lnTo>
                  <a:pt x="2020" y="257"/>
                </a:lnTo>
                <a:lnTo>
                  <a:pt x="1991" y="265"/>
                </a:lnTo>
                <a:lnTo>
                  <a:pt x="1963" y="277"/>
                </a:lnTo>
                <a:lnTo>
                  <a:pt x="1933" y="286"/>
                </a:lnTo>
                <a:lnTo>
                  <a:pt x="1906" y="299"/>
                </a:lnTo>
                <a:lnTo>
                  <a:pt x="1877" y="310"/>
                </a:lnTo>
                <a:lnTo>
                  <a:pt x="1849" y="324"/>
                </a:lnTo>
                <a:lnTo>
                  <a:pt x="1795" y="351"/>
                </a:lnTo>
                <a:lnTo>
                  <a:pt x="1742" y="382"/>
                </a:lnTo>
                <a:lnTo>
                  <a:pt x="1691" y="415"/>
                </a:lnTo>
                <a:lnTo>
                  <a:pt x="1642" y="450"/>
                </a:lnTo>
                <a:lnTo>
                  <a:pt x="1594" y="487"/>
                </a:lnTo>
                <a:lnTo>
                  <a:pt x="1548" y="527"/>
                </a:lnTo>
                <a:lnTo>
                  <a:pt x="1505" y="568"/>
                </a:lnTo>
                <a:lnTo>
                  <a:pt x="1463" y="612"/>
                </a:lnTo>
                <a:lnTo>
                  <a:pt x="1424" y="658"/>
                </a:lnTo>
                <a:lnTo>
                  <a:pt x="1386" y="705"/>
                </a:lnTo>
                <a:lnTo>
                  <a:pt x="1351" y="755"/>
                </a:lnTo>
                <a:lnTo>
                  <a:pt x="1319" y="806"/>
                </a:lnTo>
                <a:lnTo>
                  <a:pt x="1288" y="858"/>
                </a:lnTo>
                <a:lnTo>
                  <a:pt x="1260" y="913"/>
                </a:lnTo>
                <a:lnTo>
                  <a:pt x="1248" y="940"/>
                </a:lnTo>
                <a:lnTo>
                  <a:pt x="1235" y="969"/>
                </a:lnTo>
                <a:lnTo>
                  <a:pt x="1223" y="996"/>
                </a:lnTo>
                <a:lnTo>
                  <a:pt x="1213" y="1025"/>
                </a:lnTo>
                <a:lnTo>
                  <a:pt x="1202" y="1055"/>
                </a:lnTo>
                <a:lnTo>
                  <a:pt x="1193" y="1084"/>
                </a:lnTo>
                <a:lnTo>
                  <a:pt x="1184" y="1114"/>
                </a:lnTo>
                <a:lnTo>
                  <a:pt x="1176" y="1143"/>
                </a:lnTo>
                <a:lnTo>
                  <a:pt x="1168" y="1175"/>
                </a:lnTo>
                <a:lnTo>
                  <a:pt x="1162" y="1204"/>
                </a:lnTo>
                <a:lnTo>
                  <a:pt x="1156" y="1236"/>
                </a:lnTo>
                <a:lnTo>
                  <a:pt x="1151" y="1267"/>
                </a:lnTo>
                <a:lnTo>
                  <a:pt x="1146" y="1298"/>
                </a:lnTo>
                <a:lnTo>
                  <a:pt x="1142" y="1330"/>
                </a:lnTo>
                <a:lnTo>
                  <a:pt x="1140" y="1361"/>
                </a:lnTo>
                <a:lnTo>
                  <a:pt x="1138" y="1394"/>
                </a:lnTo>
                <a:lnTo>
                  <a:pt x="1137" y="1426"/>
                </a:lnTo>
                <a:lnTo>
                  <a:pt x="1136" y="1459"/>
                </a:lnTo>
                <a:lnTo>
                  <a:pt x="1137" y="1505"/>
                </a:lnTo>
                <a:lnTo>
                  <a:pt x="1140" y="1551"/>
                </a:lnTo>
                <a:lnTo>
                  <a:pt x="1143" y="1596"/>
                </a:lnTo>
                <a:lnTo>
                  <a:pt x="1148" y="1640"/>
                </a:lnTo>
                <a:lnTo>
                  <a:pt x="1156" y="1684"/>
                </a:lnTo>
                <a:lnTo>
                  <a:pt x="1163" y="1728"/>
                </a:lnTo>
                <a:lnTo>
                  <a:pt x="1173" y="1770"/>
                </a:lnTo>
                <a:lnTo>
                  <a:pt x="1184" y="1811"/>
                </a:lnTo>
                <a:lnTo>
                  <a:pt x="1197" y="1852"/>
                </a:lnTo>
                <a:lnTo>
                  <a:pt x="1211" y="1892"/>
                </a:lnTo>
                <a:lnTo>
                  <a:pt x="1227" y="1932"/>
                </a:lnTo>
                <a:lnTo>
                  <a:pt x="1243" y="1970"/>
                </a:lnTo>
                <a:lnTo>
                  <a:pt x="1262" y="2009"/>
                </a:lnTo>
                <a:lnTo>
                  <a:pt x="1280" y="2046"/>
                </a:lnTo>
                <a:lnTo>
                  <a:pt x="1301" y="2083"/>
                </a:lnTo>
                <a:lnTo>
                  <a:pt x="1323" y="2119"/>
                </a:lnTo>
                <a:lnTo>
                  <a:pt x="1346" y="2154"/>
                </a:lnTo>
                <a:lnTo>
                  <a:pt x="1370" y="2187"/>
                </a:lnTo>
                <a:lnTo>
                  <a:pt x="1396" y="2221"/>
                </a:lnTo>
                <a:lnTo>
                  <a:pt x="1422" y="2254"/>
                </a:lnTo>
                <a:lnTo>
                  <a:pt x="1450" y="2286"/>
                </a:lnTo>
                <a:lnTo>
                  <a:pt x="1478" y="2317"/>
                </a:lnTo>
                <a:lnTo>
                  <a:pt x="1509" y="2348"/>
                </a:lnTo>
                <a:lnTo>
                  <a:pt x="1541" y="2377"/>
                </a:lnTo>
                <a:lnTo>
                  <a:pt x="1572" y="2405"/>
                </a:lnTo>
                <a:lnTo>
                  <a:pt x="1605" y="2434"/>
                </a:lnTo>
                <a:lnTo>
                  <a:pt x="1640" y="2461"/>
                </a:lnTo>
                <a:lnTo>
                  <a:pt x="1675" y="2487"/>
                </a:lnTo>
                <a:lnTo>
                  <a:pt x="1711" y="2512"/>
                </a:lnTo>
                <a:lnTo>
                  <a:pt x="1749" y="2537"/>
                </a:lnTo>
                <a:lnTo>
                  <a:pt x="1786" y="2561"/>
                </a:lnTo>
                <a:lnTo>
                  <a:pt x="1826" y="2583"/>
                </a:lnTo>
                <a:lnTo>
                  <a:pt x="1826" y="3271"/>
                </a:lnTo>
                <a:lnTo>
                  <a:pt x="1627" y="3271"/>
                </a:lnTo>
                <a:close/>
                <a:moveTo>
                  <a:pt x="1827" y="3841"/>
                </a:moveTo>
                <a:lnTo>
                  <a:pt x="1826" y="4301"/>
                </a:lnTo>
                <a:lnTo>
                  <a:pt x="2204" y="4564"/>
                </a:lnTo>
                <a:lnTo>
                  <a:pt x="2591" y="4564"/>
                </a:lnTo>
                <a:lnTo>
                  <a:pt x="2949" y="4315"/>
                </a:lnTo>
                <a:lnTo>
                  <a:pt x="1827" y="3841"/>
                </a:lnTo>
                <a:close/>
                <a:moveTo>
                  <a:pt x="1661" y="3470"/>
                </a:moveTo>
                <a:lnTo>
                  <a:pt x="2970" y="4028"/>
                </a:lnTo>
                <a:lnTo>
                  <a:pt x="2970" y="3920"/>
                </a:lnTo>
                <a:lnTo>
                  <a:pt x="1916" y="3470"/>
                </a:lnTo>
                <a:lnTo>
                  <a:pt x="3170" y="3470"/>
                </a:lnTo>
                <a:lnTo>
                  <a:pt x="3170" y="4406"/>
                </a:lnTo>
                <a:lnTo>
                  <a:pt x="2653" y="4763"/>
                </a:lnTo>
                <a:lnTo>
                  <a:pt x="2142" y="4763"/>
                </a:lnTo>
                <a:lnTo>
                  <a:pt x="1625" y="4406"/>
                </a:lnTo>
                <a:lnTo>
                  <a:pt x="1629" y="3470"/>
                </a:lnTo>
                <a:lnTo>
                  <a:pt x="1661" y="3470"/>
                </a:lnTo>
                <a:close/>
                <a:moveTo>
                  <a:pt x="2620" y="2471"/>
                </a:moveTo>
                <a:lnTo>
                  <a:pt x="2886" y="1072"/>
                </a:lnTo>
                <a:lnTo>
                  <a:pt x="2770" y="1072"/>
                </a:lnTo>
                <a:lnTo>
                  <a:pt x="2770" y="973"/>
                </a:lnTo>
                <a:lnTo>
                  <a:pt x="3007" y="973"/>
                </a:lnTo>
                <a:lnTo>
                  <a:pt x="2719" y="2490"/>
                </a:lnTo>
                <a:lnTo>
                  <a:pt x="2620" y="2471"/>
                </a:lnTo>
                <a:close/>
                <a:moveTo>
                  <a:pt x="3860" y="2201"/>
                </a:moveTo>
                <a:lnTo>
                  <a:pt x="4518" y="2581"/>
                </a:lnTo>
                <a:lnTo>
                  <a:pt x="4419" y="2754"/>
                </a:lnTo>
                <a:lnTo>
                  <a:pt x="3758" y="2372"/>
                </a:lnTo>
                <a:lnTo>
                  <a:pt x="3785" y="2330"/>
                </a:lnTo>
                <a:lnTo>
                  <a:pt x="3811" y="2288"/>
                </a:lnTo>
                <a:lnTo>
                  <a:pt x="3836" y="2244"/>
                </a:lnTo>
                <a:lnTo>
                  <a:pt x="3860" y="2201"/>
                </a:lnTo>
                <a:close/>
                <a:moveTo>
                  <a:pt x="371" y="186"/>
                </a:moveTo>
                <a:lnTo>
                  <a:pt x="1008" y="553"/>
                </a:lnTo>
                <a:lnTo>
                  <a:pt x="981" y="595"/>
                </a:lnTo>
                <a:lnTo>
                  <a:pt x="957" y="639"/>
                </a:lnTo>
                <a:lnTo>
                  <a:pt x="933" y="683"/>
                </a:lnTo>
                <a:lnTo>
                  <a:pt x="910" y="727"/>
                </a:lnTo>
                <a:lnTo>
                  <a:pt x="272" y="359"/>
                </a:lnTo>
                <a:lnTo>
                  <a:pt x="371" y="186"/>
                </a:lnTo>
                <a:close/>
                <a:moveTo>
                  <a:pt x="1035" y="2370"/>
                </a:moveTo>
                <a:lnTo>
                  <a:pt x="371" y="2754"/>
                </a:lnTo>
                <a:lnTo>
                  <a:pt x="272" y="2581"/>
                </a:lnTo>
                <a:lnTo>
                  <a:pt x="933" y="2200"/>
                </a:lnTo>
                <a:lnTo>
                  <a:pt x="957" y="2243"/>
                </a:lnTo>
                <a:lnTo>
                  <a:pt x="981" y="2287"/>
                </a:lnTo>
                <a:lnTo>
                  <a:pt x="1008" y="2329"/>
                </a:lnTo>
                <a:lnTo>
                  <a:pt x="1035" y="2370"/>
                </a:lnTo>
                <a:close/>
                <a:moveTo>
                  <a:pt x="4518" y="359"/>
                </a:moveTo>
                <a:lnTo>
                  <a:pt x="3882" y="726"/>
                </a:lnTo>
                <a:lnTo>
                  <a:pt x="3860" y="681"/>
                </a:lnTo>
                <a:lnTo>
                  <a:pt x="3836" y="638"/>
                </a:lnTo>
                <a:lnTo>
                  <a:pt x="3811" y="594"/>
                </a:lnTo>
                <a:lnTo>
                  <a:pt x="3785" y="552"/>
                </a:lnTo>
                <a:lnTo>
                  <a:pt x="4419" y="186"/>
                </a:lnTo>
                <a:lnTo>
                  <a:pt x="4518" y="359"/>
                </a:lnTo>
                <a:close/>
                <a:moveTo>
                  <a:pt x="753" y="1569"/>
                </a:moveTo>
                <a:lnTo>
                  <a:pt x="0" y="1569"/>
                </a:lnTo>
                <a:lnTo>
                  <a:pt x="0" y="1370"/>
                </a:lnTo>
                <a:lnTo>
                  <a:pt x="750" y="1370"/>
                </a:lnTo>
                <a:lnTo>
                  <a:pt x="749" y="1405"/>
                </a:lnTo>
                <a:lnTo>
                  <a:pt x="749" y="1441"/>
                </a:lnTo>
                <a:lnTo>
                  <a:pt x="750" y="1506"/>
                </a:lnTo>
                <a:lnTo>
                  <a:pt x="753" y="1569"/>
                </a:lnTo>
                <a:close/>
                <a:moveTo>
                  <a:pt x="4790" y="1569"/>
                </a:moveTo>
                <a:lnTo>
                  <a:pt x="4040" y="1569"/>
                </a:lnTo>
                <a:lnTo>
                  <a:pt x="4044" y="1506"/>
                </a:lnTo>
                <a:lnTo>
                  <a:pt x="4045" y="1441"/>
                </a:lnTo>
                <a:lnTo>
                  <a:pt x="4044" y="1405"/>
                </a:lnTo>
                <a:lnTo>
                  <a:pt x="4043" y="1370"/>
                </a:lnTo>
                <a:lnTo>
                  <a:pt x="4790" y="1370"/>
                </a:lnTo>
                <a:lnTo>
                  <a:pt x="4790" y="1569"/>
                </a:lnTo>
                <a:close/>
              </a:path>
            </a:pathLst>
          </a:custGeom>
          <a:solidFill>
            <a:srgbClr val="0E80A5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67" name="Freeform 69"/>
          <p:cNvSpPr>
            <a:spLocks noChangeAspect="1" noEditPoints="1"/>
          </p:cNvSpPr>
          <p:nvPr/>
        </p:nvSpPr>
        <p:spPr bwMode="auto">
          <a:xfrm>
            <a:off x="3454305" y="5076820"/>
            <a:ext cx="437917" cy="391086"/>
          </a:xfrm>
          <a:custGeom>
            <a:avLst/>
            <a:gdLst>
              <a:gd name="T0" fmla="*/ 2147483647 w 5332"/>
              <a:gd name="T1" fmla="*/ 2147483647 h 4763"/>
              <a:gd name="T2" fmla="*/ 2147483647 w 5332"/>
              <a:gd name="T3" fmla="*/ 2147483647 h 4763"/>
              <a:gd name="T4" fmla="*/ 2147483647 w 5332"/>
              <a:gd name="T5" fmla="*/ 2147483647 h 4763"/>
              <a:gd name="T6" fmla="*/ 2147483647 w 5332"/>
              <a:gd name="T7" fmla="*/ 2147483647 h 4763"/>
              <a:gd name="T8" fmla="*/ 2147483647 w 5332"/>
              <a:gd name="T9" fmla="*/ 2147483647 h 4763"/>
              <a:gd name="T10" fmla="*/ 2147483647 w 5332"/>
              <a:gd name="T11" fmla="*/ 2147483647 h 4763"/>
              <a:gd name="T12" fmla="*/ 2147483647 w 5332"/>
              <a:gd name="T13" fmla="*/ 2147483647 h 4763"/>
              <a:gd name="T14" fmla="*/ 2147483647 w 5332"/>
              <a:gd name="T15" fmla="*/ 2147483647 h 4763"/>
              <a:gd name="T16" fmla="*/ 2147483647 w 5332"/>
              <a:gd name="T17" fmla="*/ 2147483647 h 4763"/>
              <a:gd name="T18" fmla="*/ 2147483647 w 5332"/>
              <a:gd name="T19" fmla="*/ 2147483647 h 4763"/>
              <a:gd name="T20" fmla="*/ 2147483647 w 5332"/>
              <a:gd name="T21" fmla="*/ 2147483647 h 4763"/>
              <a:gd name="T22" fmla="*/ 2147483647 w 5332"/>
              <a:gd name="T23" fmla="*/ 2147483647 h 4763"/>
              <a:gd name="T24" fmla="*/ 2147483647 w 5332"/>
              <a:gd name="T25" fmla="*/ 2147483647 h 4763"/>
              <a:gd name="T26" fmla="*/ 2147483647 w 5332"/>
              <a:gd name="T27" fmla="*/ 2147483647 h 4763"/>
              <a:gd name="T28" fmla="*/ 2147483647 w 5332"/>
              <a:gd name="T29" fmla="*/ 2147483647 h 4763"/>
              <a:gd name="T30" fmla="*/ 2147483647 w 5332"/>
              <a:gd name="T31" fmla="*/ 2147483647 h 4763"/>
              <a:gd name="T32" fmla="*/ 2147483647 w 5332"/>
              <a:gd name="T33" fmla="*/ 2147483647 h 4763"/>
              <a:gd name="T34" fmla="*/ 2147483647 w 5332"/>
              <a:gd name="T35" fmla="*/ 2147483647 h 4763"/>
              <a:gd name="T36" fmla="*/ 2147483647 w 5332"/>
              <a:gd name="T37" fmla="*/ 2147483647 h 4763"/>
              <a:gd name="T38" fmla="*/ 2147483647 w 5332"/>
              <a:gd name="T39" fmla="*/ 2147483647 h 4763"/>
              <a:gd name="T40" fmla="*/ 2147483647 w 5332"/>
              <a:gd name="T41" fmla="*/ 2147483647 h 4763"/>
              <a:gd name="T42" fmla="*/ 2147483647 w 5332"/>
              <a:gd name="T43" fmla="*/ 2147483647 h 4763"/>
              <a:gd name="T44" fmla="*/ 2147483647 w 5332"/>
              <a:gd name="T45" fmla="*/ 2147483647 h 4763"/>
              <a:gd name="T46" fmla="*/ 2147483647 w 5332"/>
              <a:gd name="T47" fmla="*/ 2147483647 h 4763"/>
              <a:gd name="T48" fmla="*/ 2147483647 w 5332"/>
              <a:gd name="T49" fmla="*/ 2147483647 h 4763"/>
              <a:gd name="T50" fmla="*/ 2147483647 w 5332"/>
              <a:gd name="T51" fmla="*/ 2147483647 h 4763"/>
              <a:gd name="T52" fmla="*/ 2147483647 w 5332"/>
              <a:gd name="T53" fmla="*/ 2147483647 h 4763"/>
              <a:gd name="T54" fmla="*/ 2147483647 w 5332"/>
              <a:gd name="T55" fmla="*/ 2147483647 h 4763"/>
              <a:gd name="T56" fmla="*/ 2147483647 w 5332"/>
              <a:gd name="T57" fmla="*/ 2147483647 h 4763"/>
              <a:gd name="T58" fmla="*/ 2147483647 w 5332"/>
              <a:gd name="T59" fmla="*/ 2147483647 h 4763"/>
              <a:gd name="T60" fmla="*/ 2147483647 w 5332"/>
              <a:gd name="T61" fmla="*/ 2147483647 h 4763"/>
              <a:gd name="T62" fmla="*/ 2147483647 w 5332"/>
              <a:gd name="T63" fmla="*/ 2147483647 h 4763"/>
              <a:gd name="T64" fmla="*/ 2147483647 w 5332"/>
              <a:gd name="T65" fmla="*/ 2147483647 h 4763"/>
              <a:gd name="T66" fmla="*/ 2147483647 w 5332"/>
              <a:gd name="T67" fmla="*/ 2147483647 h 4763"/>
              <a:gd name="T68" fmla="*/ 2147483647 w 5332"/>
              <a:gd name="T69" fmla="*/ 2147483647 h 4763"/>
              <a:gd name="T70" fmla="*/ 2147483647 w 5332"/>
              <a:gd name="T71" fmla="*/ 2147483647 h 4763"/>
              <a:gd name="T72" fmla="*/ 2147483647 w 5332"/>
              <a:gd name="T73" fmla="*/ 2147483647 h 4763"/>
              <a:gd name="T74" fmla="*/ 2147483647 w 5332"/>
              <a:gd name="T75" fmla="*/ 2147483647 h 4763"/>
              <a:gd name="T76" fmla="*/ 2147483647 w 5332"/>
              <a:gd name="T77" fmla="*/ 2147483647 h 4763"/>
              <a:gd name="T78" fmla="*/ 2147483647 w 5332"/>
              <a:gd name="T79" fmla="*/ 2147483647 h 4763"/>
              <a:gd name="T80" fmla="*/ 2147483647 w 5332"/>
              <a:gd name="T81" fmla="*/ 2147483647 h 4763"/>
              <a:gd name="T82" fmla="*/ 2147483647 w 5332"/>
              <a:gd name="T83" fmla="*/ 2147483647 h 4763"/>
              <a:gd name="T84" fmla="*/ 2147483647 w 5332"/>
              <a:gd name="T85" fmla="*/ 2147483647 h 4763"/>
              <a:gd name="T86" fmla="*/ 2147483647 w 5332"/>
              <a:gd name="T87" fmla="*/ 2147483647 h 4763"/>
              <a:gd name="T88" fmla="*/ 2147483647 w 5332"/>
              <a:gd name="T89" fmla="*/ 2147483647 h 4763"/>
              <a:gd name="T90" fmla="*/ 2147483647 w 5332"/>
              <a:gd name="T91" fmla="*/ 2147483647 h 4763"/>
              <a:gd name="T92" fmla="*/ 2147483647 w 5332"/>
              <a:gd name="T93" fmla="*/ 2147483647 h 4763"/>
              <a:gd name="T94" fmla="*/ 2147483647 w 5332"/>
              <a:gd name="T95" fmla="*/ 2147483647 h 4763"/>
              <a:gd name="T96" fmla="*/ 2147483647 w 5332"/>
              <a:gd name="T97" fmla="*/ 2147483647 h 4763"/>
              <a:gd name="T98" fmla="*/ 2147483647 w 5332"/>
              <a:gd name="T99" fmla="*/ 2147483647 h 4763"/>
              <a:gd name="T100" fmla="*/ 2147483647 w 5332"/>
              <a:gd name="T101" fmla="*/ 2147483647 h 4763"/>
              <a:gd name="T102" fmla="*/ 2147483647 w 5332"/>
              <a:gd name="T103" fmla="*/ 2147483647 h 4763"/>
              <a:gd name="T104" fmla="*/ 2147483647 w 5332"/>
              <a:gd name="T105" fmla="*/ 2147483647 h 4763"/>
              <a:gd name="T106" fmla="*/ 2147483647 w 5332"/>
              <a:gd name="T107" fmla="*/ 2147483647 h 4763"/>
              <a:gd name="T108" fmla="*/ 2147483647 w 5332"/>
              <a:gd name="T109" fmla="*/ 2147483647 h 4763"/>
              <a:gd name="T110" fmla="*/ 2147483647 w 5332"/>
              <a:gd name="T111" fmla="*/ 2147483647 h 4763"/>
              <a:gd name="T112" fmla="*/ 2147483647 w 5332"/>
              <a:gd name="T113" fmla="*/ 2147483647 h 4763"/>
              <a:gd name="T114" fmla="*/ 2147483647 w 5332"/>
              <a:gd name="T115" fmla="*/ 2147483647 h 4763"/>
              <a:gd name="T116" fmla="*/ 2147483647 w 5332"/>
              <a:gd name="T117" fmla="*/ 2147483647 h 4763"/>
              <a:gd name="T118" fmla="*/ 2147483647 w 5332"/>
              <a:gd name="T119" fmla="*/ 2147483647 h 4763"/>
              <a:gd name="T120" fmla="*/ 2147483647 w 5332"/>
              <a:gd name="T121" fmla="*/ 2147483647 h 4763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5332"/>
              <a:gd name="T184" fmla="*/ 0 h 4763"/>
              <a:gd name="T185" fmla="*/ 5332 w 5332"/>
              <a:gd name="T186" fmla="*/ 4763 h 4763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5332" h="4763">
                <a:moveTo>
                  <a:pt x="1234" y="2015"/>
                </a:moveTo>
                <a:lnTo>
                  <a:pt x="837" y="2015"/>
                </a:lnTo>
                <a:lnTo>
                  <a:pt x="840" y="1984"/>
                </a:lnTo>
                <a:lnTo>
                  <a:pt x="844" y="1955"/>
                </a:lnTo>
                <a:lnTo>
                  <a:pt x="849" y="1928"/>
                </a:lnTo>
                <a:lnTo>
                  <a:pt x="859" y="1903"/>
                </a:lnTo>
                <a:lnTo>
                  <a:pt x="868" y="1880"/>
                </a:lnTo>
                <a:lnTo>
                  <a:pt x="880" y="1858"/>
                </a:lnTo>
                <a:lnTo>
                  <a:pt x="894" y="1838"/>
                </a:lnTo>
                <a:lnTo>
                  <a:pt x="908" y="1819"/>
                </a:lnTo>
                <a:lnTo>
                  <a:pt x="926" y="1803"/>
                </a:lnTo>
                <a:lnTo>
                  <a:pt x="943" y="1787"/>
                </a:lnTo>
                <a:lnTo>
                  <a:pt x="962" y="1772"/>
                </a:lnTo>
                <a:lnTo>
                  <a:pt x="982" y="1759"/>
                </a:lnTo>
                <a:lnTo>
                  <a:pt x="1004" y="1746"/>
                </a:lnTo>
                <a:lnTo>
                  <a:pt x="1025" y="1735"/>
                </a:lnTo>
                <a:lnTo>
                  <a:pt x="1048" y="1723"/>
                </a:lnTo>
                <a:lnTo>
                  <a:pt x="1071" y="1713"/>
                </a:lnTo>
                <a:lnTo>
                  <a:pt x="1085" y="1705"/>
                </a:lnTo>
                <a:lnTo>
                  <a:pt x="1098" y="1699"/>
                </a:lnTo>
                <a:lnTo>
                  <a:pt x="1108" y="1691"/>
                </a:lnTo>
                <a:lnTo>
                  <a:pt x="1115" y="1684"/>
                </a:lnTo>
                <a:lnTo>
                  <a:pt x="1122" y="1676"/>
                </a:lnTo>
                <a:lnTo>
                  <a:pt x="1124" y="1668"/>
                </a:lnTo>
                <a:lnTo>
                  <a:pt x="1127" y="1660"/>
                </a:lnTo>
                <a:lnTo>
                  <a:pt x="1128" y="1652"/>
                </a:lnTo>
                <a:lnTo>
                  <a:pt x="1127" y="1642"/>
                </a:lnTo>
                <a:lnTo>
                  <a:pt x="1123" y="1633"/>
                </a:lnTo>
                <a:lnTo>
                  <a:pt x="1118" y="1625"/>
                </a:lnTo>
                <a:lnTo>
                  <a:pt x="1110" y="1617"/>
                </a:lnTo>
                <a:lnTo>
                  <a:pt x="1098" y="1610"/>
                </a:lnTo>
                <a:lnTo>
                  <a:pt x="1083" y="1605"/>
                </a:lnTo>
                <a:lnTo>
                  <a:pt x="1065" y="1602"/>
                </a:lnTo>
                <a:lnTo>
                  <a:pt x="1045" y="1601"/>
                </a:lnTo>
                <a:lnTo>
                  <a:pt x="1022" y="1602"/>
                </a:lnTo>
                <a:lnTo>
                  <a:pt x="1002" y="1606"/>
                </a:lnTo>
                <a:lnTo>
                  <a:pt x="982" y="1611"/>
                </a:lnTo>
                <a:lnTo>
                  <a:pt x="963" y="1618"/>
                </a:lnTo>
                <a:lnTo>
                  <a:pt x="946" y="1627"/>
                </a:lnTo>
                <a:lnTo>
                  <a:pt x="930" y="1638"/>
                </a:lnTo>
                <a:lnTo>
                  <a:pt x="915" y="1649"/>
                </a:lnTo>
                <a:lnTo>
                  <a:pt x="900" y="1661"/>
                </a:lnTo>
                <a:lnTo>
                  <a:pt x="836" y="1586"/>
                </a:lnTo>
                <a:lnTo>
                  <a:pt x="856" y="1567"/>
                </a:lnTo>
                <a:lnTo>
                  <a:pt x="879" y="1550"/>
                </a:lnTo>
                <a:lnTo>
                  <a:pt x="903" y="1535"/>
                </a:lnTo>
                <a:lnTo>
                  <a:pt x="928" y="1523"/>
                </a:lnTo>
                <a:lnTo>
                  <a:pt x="955" y="1513"/>
                </a:lnTo>
                <a:lnTo>
                  <a:pt x="982" y="1507"/>
                </a:lnTo>
                <a:lnTo>
                  <a:pt x="1012" y="1503"/>
                </a:lnTo>
                <a:lnTo>
                  <a:pt x="1041" y="1501"/>
                </a:lnTo>
                <a:lnTo>
                  <a:pt x="1063" y="1503"/>
                </a:lnTo>
                <a:lnTo>
                  <a:pt x="1084" y="1504"/>
                </a:lnTo>
                <a:lnTo>
                  <a:pt x="1103" y="1507"/>
                </a:lnTo>
                <a:lnTo>
                  <a:pt x="1122" y="1511"/>
                </a:lnTo>
                <a:lnTo>
                  <a:pt x="1138" y="1516"/>
                </a:lnTo>
                <a:lnTo>
                  <a:pt x="1154" y="1523"/>
                </a:lnTo>
                <a:lnTo>
                  <a:pt x="1167" y="1530"/>
                </a:lnTo>
                <a:lnTo>
                  <a:pt x="1179" y="1538"/>
                </a:lnTo>
                <a:lnTo>
                  <a:pt x="1191" y="1548"/>
                </a:lnTo>
                <a:lnTo>
                  <a:pt x="1201" y="1559"/>
                </a:lnTo>
                <a:lnTo>
                  <a:pt x="1210" y="1571"/>
                </a:lnTo>
                <a:lnTo>
                  <a:pt x="1217" y="1583"/>
                </a:lnTo>
                <a:lnTo>
                  <a:pt x="1222" y="1598"/>
                </a:lnTo>
                <a:lnTo>
                  <a:pt x="1226" y="1613"/>
                </a:lnTo>
                <a:lnTo>
                  <a:pt x="1228" y="1630"/>
                </a:lnTo>
                <a:lnTo>
                  <a:pt x="1229" y="1648"/>
                </a:lnTo>
                <a:lnTo>
                  <a:pt x="1229" y="1662"/>
                </a:lnTo>
                <a:lnTo>
                  <a:pt x="1226" y="1676"/>
                </a:lnTo>
                <a:lnTo>
                  <a:pt x="1225" y="1688"/>
                </a:lnTo>
                <a:lnTo>
                  <a:pt x="1221" y="1700"/>
                </a:lnTo>
                <a:lnTo>
                  <a:pt x="1216" y="1712"/>
                </a:lnTo>
                <a:lnTo>
                  <a:pt x="1210" y="1723"/>
                </a:lnTo>
                <a:lnTo>
                  <a:pt x="1204" y="1732"/>
                </a:lnTo>
                <a:lnTo>
                  <a:pt x="1197" y="1742"/>
                </a:lnTo>
                <a:lnTo>
                  <a:pt x="1187" y="1750"/>
                </a:lnTo>
                <a:lnTo>
                  <a:pt x="1178" y="1759"/>
                </a:lnTo>
                <a:lnTo>
                  <a:pt x="1167" y="1767"/>
                </a:lnTo>
                <a:lnTo>
                  <a:pt x="1155" y="1774"/>
                </a:lnTo>
                <a:lnTo>
                  <a:pt x="1130" y="1790"/>
                </a:lnTo>
                <a:lnTo>
                  <a:pt x="1099" y="1805"/>
                </a:lnTo>
                <a:lnTo>
                  <a:pt x="1068" y="1819"/>
                </a:lnTo>
                <a:lnTo>
                  <a:pt x="1041" y="1834"/>
                </a:lnTo>
                <a:lnTo>
                  <a:pt x="1020" y="1848"/>
                </a:lnTo>
                <a:lnTo>
                  <a:pt x="1002" y="1862"/>
                </a:lnTo>
                <a:lnTo>
                  <a:pt x="988" y="1876"/>
                </a:lnTo>
                <a:lnTo>
                  <a:pt x="977" y="1889"/>
                </a:lnTo>
                <a:lnTo>
                  <a:pt x="970" y="1904"/>
                </a:lnTo>
                <a:lnTo>
                  <a:pt x="965" y="1919"/>
                </a:lnTo>
                <a:lnTo>
                  <a:pt x="1234" y="1919"/>
                </a:lnTo>
                <a:lnTo>
                  <a:pt x="1234" y="2015"/>
                </a:lnTo>
                <a:close/>
                <a:moveTo>
                  <a:pt x="1115" y="1293"/>
                </a:moveTo>
                <a:lnTo>
                  <a:pt x="1014" y="1293"/>
                </a:lnTo>
                <a:lnTo>
                  <a:pt x="1014" y="927"/>
                </a:lnTo>
                <a:lnTo>
                  <a:pt x="928" y="927"/>
                </a:lnTo>
                <a:lnTo>
                  <a:pt x="928" y="852"/>
                </a:lnTo>
                <a:lnTo>
                  <a:pt x="949" y="851"/>
                </a:lnTo>
                <a:lnTo>
                  <a:pt x="967" y="847"/>
                </a:lnTo>
                <a:lnTo>
                  <a:pt x="983" y="841"/>
                </a:lnTo>
                <a:lnTo>
                  <a:pt x="997" y="835"/>
                </a:lnTo>
                <a:lnTo>
                  <a:pt x="1009" y="825"/>
                </a:lnTo>
                <a:lnTo>
                  <a:pt x="1020" y="814"/>
                </a:lnTo>
                <a:lnTo>
                  <a:pt x="1026" y="801"/>
                </a:lnTo>
                <a:lnTo>
                  <a:pt x="1032" y="786"/>
                </a:lnTo>
                <a:lnTo>
                  <a:pt x="1115" y="786"/>
                </a:lnTo>
                <a:lnTo>
                  <a:pt x="1115" y="1293"/>
                </a:lnTo>
                <a:close/>
                <a:moveTo>
                  <a:pt x="3731" y="2485"/>
                </a:moveTo>
                <a:lnTo>
                  <a:pt x="4183" y="1850"/>
                </a:lnTo>
                <a:lnTo>
                  <a:pt x="1546" y="1850"/>
                </a:lnTo>
                <a:lnTo>
                  <a:pt x="1546" y="1743"/>
                </a:lnTo>
                <a:lnTo>
                  <a:pt x="4260" y="1743"/>
                </a:lnTo>
                <a:lnTo>
                  <a:pt x="4377" y="1578"/>
                </a:lnTo>
                <a:lnTo>
                  <a:pt x="4577" y="1866"/>
                </a:lnTo>
                <a:lnTo>
                  <a:pt x="3861" y="2871"/>
                </a:lnTo>
                <a:lnTo>
                  <a:pt x="3600" y="2866"/>
                </a:lnTo>
                <a:lnTo>
                  <a:pt x="3370" y="2534"/>
                </a:lnTo>
                <a:lnTo>
                  <a:pt x="1546" y="2534"/>
                </a:lnTo>
                <a:lnTo>
                  <a:pt x="1546" y="2427"/>
                </a:lnTo>
                <a:lnTo>
                  <a:pt x="3297" y="2427"/>
                </a:lnTo>
                <a:lnTo>
                  <a:pt x="3200" y="2288"/>
                </a:lnTo>
                <a:lnTo>
                  <a:pt x="3400" y="2006"/>
                </a:lnTo>
                <a:lnTo>
                  <a:pt x="3731" y="2485"/>
                </a:lnTo>
                <a:close/>
                <a:moveTo>
                  <a:pt x="1546" y="1057"/>
                </a:moveTo>
                <a:lnTo>
                  <a:pt x="4300" y="1057"/>
                </a:lnTo>
                <a:lnTo>
                  <a:pt x="4300" y="1165"/>
                </a:lnTo>
                <a:lnTo>
                  <a:pt x="1546" y="1165"/>
                </a:lnTo>
                <a:lnTo>
                  <a:pt x="1546" y="1057"/>
                </a:lnTo>
                <a:close/>
                <a:moveTo>
                  <a:pt x="1232" y="2583"/>
                </a:moveTo>
                <a:lnTo>
                  <a:pt x="1232" y="2583"/>
                </a:lnTo>
                <a:lnTo>
                  <a:pt x="1230" y="2602"/>
                </a:lnTo>
                <a:lnTo>
                  <a:pt x="1228" y="2620"/>
                </a:lnTo>
                <a:lnTo>
                  <a:pt x="1222" y="2638"/>
                </a:lnTo>
                <a:lnTo>
                  <a:pt x="1216" y="2654"/>
                </a:lnTo>
                <a:lnTo>
                  <a:pt x="1208" y="2669"/>
                </a:lnTo>
                <a:lnTo>
                  <a:pt x="1198" y="2682"/>
                </a:lnTo>
                <a:lnTo>
                  <a:pt x="1186" y="2694"/>
                </a:lnTo>
                <a:lnTo>
                  <a:pt x="1174" y="2705"/>
                </a:lnTo>
                <a:lnTo>
                  <a:pt x="1159" y="2716"/>
                </a:lnTo>
                <a:lnTo>
                  <a:pt x="1143" y="2724"/>
                </a:lnTo>
                <a:lnTo>
                  <a:pt x="1126" y="2730"/>
                </a:lnTo>
                <a:lnTo>
                  <a:pt x="1107" y="2737"/>
                </a:lnTo>
                <a:lnTo>
                  <a:pt x="1088" y="2741"/>
                </a:lnTo>
                <a:lnTo>
                  <a:pt x="1067" y="2744"/>
                </a:lnTo>
                <a:lnTo>
                  <a:pt x="1045" y="2746"/>
                </a:lnTo>
                <a:lnTo>
                  <a:pt x="1021" y="2746"/>
                </a:lnTo>
                <a:lnTo>
                  <a:pt x="993" y="2745"/>
                </a:lnTo>
                <a:lnTo>
                  <a:pt x="966" y="2741"/>
                </a:lnTo>
                <a:lnTo>
                  <a:pt x="939" y="2734"/>
                </a:lnTo>
                <a:lnTo>
                  <a:pt x="927" y="2729"/>
                </a:lnTo>
                <a:lnTo>
                  <a:pt x="914" y="2724"/>
                </a:lnTo>
                <a:lnTo>
                  <a:pt x="902" y="2717"/>
                </a:lnTo>
                <a:lnTo>
                  <a:pt x="890" y="2710"/>
                </a:lnTo>
                <a:lnTo>
                  <a:pt x="877" y="2702"/>
                </a:lnTo>
                <a:lnTo>
                  <a:pt x="865" y="2694"/>
                </a:lnTo>
                <a:lnTo>
                  <a:pt x="855" y="2683"/>
                </a:lnTo>
                <a:lnTo>
                  <a:pt x="843" y="2674"/>
                </a:lnTo>
                <a:lnTo>
                  <a:pt x="821" y="2650"/>
                </a:lnTo>
                <a:lnTo>
                  <a:pt x="898" y="2588"/>
                </a:lnTo>
                <a:lnTo>
                  <a:pt x="914" y="2603"/>
                </a:lnTo>
                <a:lnTo>
                  <a:pt x="928" y="2616"/>
                </a:lnTo>
                <a:lnTo>
                  <a:pt x="945" y="2626"/>
                </a:lnTo>
                <a:lnTo>
                  <a:pt x="961" y="2635"/>
                </a:lnTo>
                <a:lnTo>
                  <a:pt x="977" y="2640"/>
                </a:lnTo>
                <a:lnTo>
                  <a:pt x="994" y="2644"/>
                </a:lnTo>
                <a:lnTo>
                  <a:pt x="1012" y="2647"/>
                </a:lnTo>
                <a:lnTo>
                  <a:pt x="1030" y="2648"/>
                </a:lnTo>
                <a:lnTo>
                  <a:pt x="1055" y="2647"/>
                </a:lnTo>
                <a:lnTo>
                  <a:pt x="1075" y="2643"/>
                </a:lnTo>
                <a:lnTo>
                  <a:pt x="1091" y="2638"/>
                </a:lnTo>
                <a:lnTo>
                  <a:pt x="1104" y="2631"/>
                </a:lnTo>
                <a:lnTo>
                  <a:pt x="1111" y="2627"/>
                </a:lnTo>
                <a:lnTo>
                  <a:pt x="1115" y="2622"/>
                </a:lnTo>
                <a:lnTo>
                  <a:pt x="1119" y="2616"/>
                </a:lnTo>
                <a:lnTo>
                  <a:pt x="1123" y="2611"/>
                </a:lnTo>
                <a:lnTo>
                  <a:pt x="1126" y="2604"/>
                </a:lnTo>
                <a:lnTo>
                  <a:pt x="1127" y="2598"/>
                </a:lnTo>
                <a:lnTo>
                  <a:pt x="1128" y="2584"/>
                </a:lnTo>
                <a:lnTo>
                  <a:pt x="1127" y="2569"/>
                </a:lnTo>
                <a:lnTo>
                  <a:pt x="1123" y="2559"/>
                </a:lnTo>
                <a:lnTo>
                  <a:pt x="1118" y="2548"/>
                </a:lnTo>
                <a:lnTo>
                  <a:pt x="1110" y="2540"/>
                </a:lnTo>
                <a:lnTo>
                  <a:pt x="1099" y="2533"/>
                </a:lnTo>
                <a:lnTo>
                  <a:pt x="1085" y="2529"/>
                </a:lnTo>
                <a:lnTo>
                  <a:pt x="1071" y="2526"/>
                </a:lnTo>
                <a:lnTo>
                  <a:pt x="1055" y="2525"/>
                </a:lnTo>
                <a:lnTo>
                  <a:pt x="994" y="2525"/>
                </a:lnTo>
                <a:lnTo>
                  <a:pt x="994" y="2427"/>
                </a:lnTo>
                <a:lnTo>
                  <a:pt x="1048" y="2427"/>
                </a:lnTo>
                <a:lnTo>
                  <a:pt x="1063" y="2426"/>
                </a:lnTo>
                <a:lnTo>
                  <a:pt x="1075" y="2423"/>
                </a:lnTo>
                <a:lnTo>
                  <a:pt x="1085" y="2419"/>
                </a:lnTo>
                <a:lnTo>
                  <a:pt x="1094" y="2414"/>
                </a:lnTo>
                <a:lnTo>
                  <a:pt x="1100" y="2406"/>
                </a:lnTo>
                <a:lnTo>
                  <a:pt x="1104" y="2398"/>
                </a:lnTo>
                <a:lnTo>
                  <a:pt x="1107" y="2387"/>
                </a:lnTo>
                <a:lnTo>
                  <a:pt x="1107" y="2375"/>
                </a:lnTo>
                <a:lnTo>
                  <a:pt x="1107" y="2365"/>
                </a:lnTo>
                <a:lnTo>
                  <a:pt x="1103" y="2356"/>
                </a:lnTo>
                <a:lnTo>
                  <a:pt x="1098" y="2348"/>
                </a:lnTo>
                <a:lnTo>
                  <a:pt x="1089" y="2340"/>
                </a:lnTo>
                <a:lnTo>
                  <a:pt x="1077" y="2333"/>
                </a:lnTo>
                <a:lnTo>
                  <a:pt x="1063" y="2328"/>
                </a:lnTo>
                <a:lnTo>
                  <a:pt x="1045" y="2325"/>
                </a:lnTo>
                <a:lnTo>
                  <a:pt x="1022" y="2324"/>
                </a:lnTo>
                <a:lnTo>
                  <a:pt x="1009" y="2325"/>
                </a:lnTo>
                <a:lnTo>
                  <a:pt x="996" y="2326"/>
                </a:lnTo>
                <a:lnTo>
                  <a:pt x="982" y="2329"/>
                </a:lnTo>
                <a:lnTo>
                  <a:pt x="969" y="2335"/>
                </a:lnTo>
                <a:lnTo>
                  <a:pt x="958" y="2340"/>
                </a:lnTo>
                <a:lnTo>
                  <a:pt x="946" y="2348"/>
                </a:lnTo>
                <a:lnTo>
                  <a:pt x="935" y="2356"/>
                </a:lnTo>
                <a:lnTo>
                  <a:pt x="924" y="2367"/>
                </a:lnTo>
                <a:lnTo>
                  <a:pt x="851" y="2300"/>
                </a:lnTo>
                <a:lnTo>
                  <a:pt x="868" y="2282"/>
                </a:lnTo>
                <a:lnTo>
                  <a:pt x="887" y="2266"/>
                </a:lnTo>
                <a:lnTo>
                  <a:pt x="907" y="2254"/>
                </a:lnTo>
                <a:lnTo>
                  <a:pt x="927" y="2243"/>
                </a:lnTo>
                <a:lnTo>
                  <a:pt x="949" y="2235"/>
                </a:lnTo>
                <a:lnTo>
                  <a:pt x="973" y="2230"/>
                </a:lnTo>
                <a:lnTo>
                  <a:pt x="997" y="2226"/>
                </a:lnTo>
                <a:lnTo>
                  <a:pt x="1025" y="2225"/>
                </a:lnTo>
                <a:lnTo>
                  <a:pt x="1044" y="2226"/>
                </a:lnTo>
                <a:lnTo>
                  <a:pt x="1063" y="2227"/>
                </a:lnTo>
                <a:lnTo>
                  <a:pt x="1080" y="2230"/>
                </a:lnTo>
                <a:lnTo>
                  <a:pt x="1098" y="2234"/>
                </a:lnTo>
                <a:lnTo>
                  <a:pt x="1114" y="2239"/>
                </a:lnTo>
                <a:lnTo>
                  <a:pt x="1128" y="2245"/>
                </a:lnTo>
                <a:lnTo>
                  <a:pt x="1143" y="2253"/>
                </a:lnTo>
                <a:lnTo>
                  <a:pt x="1157" y="2261"/>
                </a:lnTo>
                <a:lnTo>
                  <a:pt x="1169" y="2270"/>
                </a:lnTo>
                <a:lnTo>
                  <a:pt x="1179" y="2281"/>
                </a:lnTo>
                <a:lnTo>
                  <a:pt x="1187" y="2293"/>
                </a:lnTo>
                <a:lnTo>
                  <a:pt x="1195" y="2305"/>
                </a:lnTo>
                <a:lnTo>
                  <a:pt x="1202" y="2320"/>
                </a:lnTo>
                <a:lnTo>
                  <a:pt x="1206" y="2335"/>
                </a:lnTo>
                <a:lnTo>
                  <a:pt x="1209" y="2351"/>
                </a:lnTo>
                <a:lnTo>
                  <a:pt x="1210" y="2368"/>
                </a:lnTo>
                <a:lnTo>
                  <a:pt x="1209" y="2388"/>
                </a:lnTo>
                <a:lnTo>
                  <a:pt x="1205" y="2406"/>
                </a:lnTo>
                <a:lnTo>
                  <a:pt x="1199" y="2420"/>
                </a:lnTo>
                <a:lnTo>
                  <a:pt x="1191" y="2435"/>
                </a:lnTo>
                <a:lnTo>
                  <a:pt x="1183" y="2446"/>
                </a:lnTo>
                <a:lnTo>
                  <a:pt x="1174" y="2457"/>
                </a:lnTo>
                <a:lnTo>
                  <a:pt x="1163" y="2465"/>
                </a:lnTo>
                <a:lnTo>
                  <a:pt x="1151" y="2471"/>
                </a:lnTo>
                <a:lnTo>
                  <a:pt x="1165" y="2477"/>
                </a:lnTo>
                <a:lnTo>
                  <a:pt x="1178" y="2485"/>
                </a:lnTo>
                <a:lnTo>
                  <a:pt x="1191" y="2494"/>
                </a:lnTo>
                <a:lnTo>
                  <a:pt x="1204" y="2506"/>
                </a:lnTo>
                <a:lnTo>
                  <a:pt x="1214" y="2521"/>
                </a:lnTo>
                <a:lnTo>
                  <a:pt x="1220" y="2529"/>
                </a:lnTo>
                <a:lnTo>
                  <a:pt x="1224" y="2538"/>
                </a:lnTo>
                <a:lnTo>
                  <a:pt x="1226" y="2548"/>
                </a:lnTo>
                <a:lnTo>
                  <a:pt x="1229" y="2559"/>
                </a:lnTo>
                <a:lnTo>
                  <a:pt x="1230" y="2571"/>
                </a:lnTo>
                <a:lnTo>
                  <a:pt x="1232" y="2583"/>
                </a:lnTo>
                <a:close/>
                <a:moveTo>
                  <a:pt x="4599" y="496"/>
                </a:moveTo>
                <a:lnTo>
                  <a:pt x="518" y="496"/>
                </a:lnTo>
                <a:lnTo>
                  <a:pt x="518" y="3081"/>
                </a:lnTo>
                <a:lnTo>
                  <a:pt x="4814" y="3081"/>
                </a:lnTo>
                <a:lnTo>
                  <a:pt x="4814" y="389"/>
                </a:lnTo>
                <a:lnTo>
                  <a:pt x="4921" y="389"/>
                </a:lnTo>
                <a:lnTo>
                  <a:pt x="4921" y="3188"/>
                </a:lnTo>
                <a:lnTo>
                  <a:pt x="411" y="3188"/>
                </a:lnTo>
                <a:lnTo>
                  <a:pt x="411" y="389"/>
                </a:lnTo>
                <a:lnTo>
                  <a:pt x="4599" y="389"/>
                </a:lnTo>
                <a:lnTo>
                  <a:pt x="4599" y="496"/>
                </a:lnTo>
                <a:close/>
                <a:moveTo>
                  <a:pt x="2666" y="3370"/>
                </a:moveTo>
                <a:lnTo>
                  <a:pt x="2666" y="3370"/>
                </a:lnTo>
                <a:lnTo>
                  <a:pt x="2658" y="3372"/>
                </a:lnTo>
                <a:lnTo>
                  <a:pt x="2650" y="3373"/>
                </a:lnTo>
                <a:lnTo>
                  <a:pt x="2642" y="3374"/>
                </a:lnTo>
                <a:lnTo>
                  <a:pt x="2634" y="3377"/>
                </a:lnTo>
                <a:lnTo>
                  <a:pt x="2620" y="3385"/>
                </a:lnTo>
                <a:lnTo>
                  <a:pt x="2608" y="3394"/>
                </a:lnTo>
                <a:lnTo>
                  <a:pt x="2598" y="3408"/>
                </a:lnTo>
                <a:lnTo>
                  <a:pt x="2590" y="3421"/>
                </a:lnTo>
                <a:lnTo>
                  <a:pt x="2587" y="3429"/>
                </a:lnTo>
                <a:lnTo>
                  <a:pt x="2585" y="3436"/>
                </a:lnTo>
                <a:lnTo>
                  <a:pt x="2584" y="3445"/>
                </a:lnTo>
                <a:lnTo>
                  <a:pt x="2584" y="3454"/>
                </a:lnTo>
                <a:lnTo>
                  <a:pt x="2584" y="3462"/>
                </a:lnTo>
                <a:lnTo>
                  <a:pt x="2585" y="3470"/>
                </a:lnTo>
                <a:lnTo>
                  <a:pt x="2587" y="3478"/>
                </a:lnTo>
                <a:lnTo>
                  <a:pt x="2590" y="3486"/>
                </a:lnTo>
                <a:lnTo>
                  <a:pt x="2598" y="3499"/>
                </a:lnTo>
                <a:lnTo>
                  <a:pt x="2608" y="3511"/>
                </a:lnTo>
                <a:lnTo>
                  <a:pt x="2620" y="3522"/>
                </a:lnTo>
                <a:lnTo>
                  <a:pt x="2634" y="3529"/>
                </a:lnTo>
                <a:lnTo>
                  <a:pt x="2642" y="3531"/>
                </a:lnTo>
                <a:lnTo>
                  <a:pt x="2650" y="3534"/>
                </a:lnTo>
                <a:lnTo>
                  <a:pt x="2658" y="3535"/>
                </a:lnTo>
                <a:lnTo>
                  <a:pt x="2666" y="3535"/>
                </a:lnTo>
                <a:lnTo>
                  <a:pt x="2674" y="3535"/>
                </a:lnTo>
                <a:lnTo>
                  <a:pt x="2682" y="3534"/>
                </a:lnTo>
                <a:lnTo>
                  <a:pt x="2690" y="3531"/>
                </a:lnTo>
                <a:lnTo>
                  <a:pt x="2698" y="3529"/>
                </a:lnTo>
                <a:lnTo>
                  <a:pt x="2712" y="3522"/>
                </a:lnTo>
                <a:lnTo>
                  <a:pt x="2724" y="3511"/>
                </a:lnTo>
                <a:lnTo>
                  <a:pt x="2734" y="3499"/>
                </a:lnTo>
                <a:lnTo>
                  <a:pt x="2741" y="3486"/>
                </a:lnTo>
                <a:lnTo>
                  <a:pt x="2745" y="3478"/>
                </a:lnTo>
                <a:lnTo>
                  <a:pt x="2747" y="3470"/>
                </a:lnTo>
                <a:lnTo>
                  <a:pt x="2748" y="3462"/>
                </a:lnTo>
                <a:lnTo>
                  <a:pt x="2748" y="3454"/>
                </a:lnTo>
                <a:lnTo>
                  <a:pt x="2748" y="3445"/>
                </a:lnTo>
                <a:lnTo>
                  <a:pt x="2747" y="3436"/>
                </a:lnTo>
                <a:lnTo>
                  <a:pt x="2745" y="3429"/>
                </a:lnTo>
                <a:lnTo>
                  <a:pt x="2741" y="3421"/>
                </a:lnTo>
                <a:lnTo>
                  <a:pt x="2734" y="3408"/>
                </a:lnTo>
                <a:lnTo>
                  <a:pt x="2724" y="3394"/>
                </a:lnTo>
                <a:lnTo>
                  <a:pt x="2712" y="3385"/>
                </a:lnTo>
                <a:lnTo>
                  <a:pt x="2698" y="3377"/>
                </a:lnTo>
                <a:lnTo>
                  <a:pt x="2690" y="3374"/>
                </a:lnTo>
                <a:lnTo>
                  <a:pt x="2682" y="3373"/>
                </a:lnTo>
                <a:lnTo>
                  <a:pt x="2674" y="3372"/>
                </a:lnTo>
                <a:lnTo>
                  <a:pt x="2666" y="3370"/>
                </a:lnTo>
                <a:close/>
                <a:moveTo>
                  <a:pt x="2666" y="3263"/>
                </a:moveTo>
                <a:lnTo>
                  <a:pt x="2666" y="3263"/>
                </a:lnTo>
                <a:lnTo>
                  <a:pt x="2685" y="3264"/>
                </a:lnTo>
                <a:lnTo>
                  <a:pt x="2704" y="3267"/>
                </a:lnTo>
                <a:lnTo>
                  <a:pt x="2722" y="3272"/>
                </a:lnTo>
                <a:lnTo>
                  <a:pt x="2740" y="3279"/>
                </a:lnTo>
                <a:lnTo>
                  <a:pt x="2756" y="3287"/>
                </a:lnTo>
                <a:lnTo>
                  <a:pt x="2772" y="3297"/>
                </a:lnTo>
                <a:lnTo>
                  <a:pt x="2787" y="3307"/>
                </a:lnTo>
                <a:lnTo>
                  <a:pt x="2800" y="3319"/>
                </a:lnTo>
                <a:lnTo>
                  <a:pt x="2812" y="3333"/>
                </a:lnTo>
                <a:lnTo>
                  <a:pt x="2823" y="3348"/>
                </a:lnTo>
                <a:lnTo>
                  <a:pt x="2832" y="3362"/>
                </a:lnTo>
                <a:lnTo>
                  <a:pt x="2840" y="3380"/>
                </a:lnTo>
                <a:lnTo>
                  <a:pt x="2847" y="3397"/>
                </a:lnTo>
                <a:lnTo>
                  <a:pt x="2851" y="3415"/>
                </a:lnTo>
                <a:lnTo>
                  <a:pt x="2855" y="3433"/>
                </a:lnTo>
                <a:lnTo>
                  <a:pt x="2855" y="3454"/>
                </a:lnTo>
                <a:lnTo>
                  <a:pt x="2855" y="3472"/>
                </a:lnTo>
                <a:lnTo>
                  <a:pt x="2851" y="3491"/>
                </a:lnTo>
                <a:lnTo>
                  <a:pt x="2847" y="3510"/>
                </a:lnTo>
                <a:lnTo>
                  <a:pt x="2840" y="3527"/>
                </a:lnTo>
                <a:lnTo>
                  <a:pt x="2832" y="3543"/>
                </a:lnTo>
                <a:lnTo>
                  <a:pt x="2823" y="3560"/>
                </a:lnTo>
                <a:lnTo>
                  <a:pt x="2812" y="3574"/>
                </a:lnTo>
                <a:lnTo>
                  <a:pt x="2800" y="3588"/>
                </a:lnTo>
                <a:lnTo>
                  <a:pt x="2787" y="3600"/>
                </a:lnTo>
                <a:lnTo>
                  <a:pt x="2772" y="3610"/>
                </a:lnTo>
                <a:lnTo>
                  <a:pt x="2756" y="3620"/>
                </a:lnTo>
                <a:lnTo>
                  <a:pt x="2740" y="3628"/>
                </a:lnTo>
                <a:lnTo>
                  <a:pt x="2722" y="3635"/>
                </a:lnTo>
                <a:lnTo>
                  <a:pt x="2704" y="3639"/>
                </a:lnTo>
                <a:lnTo>
                  <a:pt x="2685" y="3641"/>
                </a:lnTo>
                <a:lnTo>
                  <a:pt x="2666" y="3643"/>
                </a:lnTo>
                <a:lnTo>
                  <a:pt x="2647" y="3641"/>
                </a:lnTo>
                <a:lnTo>
                  <a:pt x="2627" y="3639"/>
                </a:lnTo>
                <a:lnTo>
                  <a:pt x="2610" y="3635"/>
                </a:lnTo>
                <a:lnTo>
                  <a:pt x="2592" y="3628"/>
                </a:lnTo>
                <a:lnTo>
                  <a:pt x="2576" y="3620"/>
                </a:lnTo>
                <a:lnTo>
                  <a:pt x="2560" y="3610"/>
                </a:lnTo>
                <a:lnTo>
                  <a:pt x="2545" y="3600"/>
                </a:lnTo>
                <a:lnTo>
                  <a:pt x="2532" y="3588"/>
                </a:lnTo>
                <a:lnTo>
                  <a:pt x="2520" y="3574"/>
                </a:lnTo>
                <a:lnTo>
                  <a:pt x="2509" y="3560"/>
                </a:lnTo>
                <a:lnTo>
                  <a:pt x="2500" y="3543"/>
                </a:lnTo>
                <a:lnTo>
                  <a:pt x="2492" y="3527"/>
                </a:lnTo>
                <a:lnTo>
                  <a:pt x="2485" y="3510"/>
                </a:lnTo>
                <a:lnTo>
                  <a:pt x="2480" y="3491"/>
                </a:lnTo>
                <a:lnTo>
                  <a:pt x="2477" y="3472"/>
                </a:lnTo>
                <a:lnTo>
                  <a:pt x="2477" y="3454"/>
                </a:lnTo>
                <a:lnTo>
                  <a:pt x="2477" y="3433"/>
                </a:lnTo>
                <a:lnTo>
                  <a:pt x="2480" y="3415"/>
                </a:lnTo>
                <a:lnTo>
                  <a:pt x="2485" y="3397"/>
                </a:lnTo>
                <a:lnTo>
                  <a:pt x="2492" y="3380"/>
                </a:lnTo>
                <a:lnTo>
                  <a:pt x="2500" y="3362"/>
                </a:lnTo>
                <a:lnTo>
                  <a:pt x="2509" y="3348"/>
                </a:lnTo>
                <a:lnTo>
                  <a:pt x="2520" y="3333"/>
                </a:lnTo>
                <a:lnTo>
                  <a:pt x="2532" y="3319"/>
                </a:lnTo>
                <a:lnTo>
                  <a:pt x="2545" y="3307"/>
                </a:lnTo>
                <a:lnTo>
                  <a:pt x="2560" y="3297"/>
                </a:lnTo>
                <a:lnTo>
                  <a:pt x="2576" y="3287"/>
                </a:lnTo>
                <a:lnTo>
                  <a:pt x="2592" y="3279"/>
                </a:lnTo>
                <a:lnTo>
                  <a:pt x="2610" y="3272"/>
                </a:lnTo>
                <a:lnTo>
                  <a:pt x="2627" y="3267"/>
                </a:lnTo>
                <a:lnTo>
                  <a:pt x="2647" y="3264"/>
                </a:lnTo>
                <a:lnTo>
                  <a:pt x="2666" y="3263"/>
                </a:lnTo>
                <a:close/>
                <a:moveTo>
                  <a:pt x="181" y="0"/>
                </a:moveTo>
                <a:lnTo>
                  <a:pt x="5150" y="0"/>
                </a:lnTo>
                <a:lnTo>
                  <a:pt x="5167" y="0"/>
                </a:lnTo>
                <a:lnTo>
                  <a:pt x="5183" y="3"/>
                </a:lnTo>
                <a:lnTo>
                  <a:pt x="5199" y="7"/>
                </a:lnTo>
                <a:lnTo>
                  <a:pt x="5215" y="11"/>
                </a:lnTo>
                <a:lnTo>
                  <a:pt x="5231" y="17"/>
                </a:lnTo>
                <a:lnTo>
                  <a:pt x="5246" y="25"/>
                </a:lnTo>
                <a:lnTo>
                  <a:pt x="5260" y="35"/>
                </a:lnTo>
                <a:lnTo>
                  <a:pt x="5273" y="46"/>
                </a:lnTo>
                <a:lnTo>
                  <a:pt x="5286" y="58"/>
                </a:lnTo>
                <a:lnTo>
                  <a:pt x="5297" y="70"/>
                </a:lnTo>
                <a:lnTo>
                  <a:pt x="5307" y="85"/>
                </a:lnTo>
                <a:lnTo>
                  <a:pt x="5316" y="101"/>
                </a:lnTo>
                <a:lnTo>
                  <a:pt x="5323" y="117"/>
                </a:lnTo>
                <a:lnTo>
                  <a:pt x="5327" y="134"/>
                </a:lnTo>
                <a:lnTo>
                  <a:pt x="5331" y="153"/>
                </a:lnTo>
                <a:lnTo>
                  <a:pt x="5332" y="172"/>
                </a:lnTo>
                <a:lnTo>
                  <a:pt x="5332" y="3782"/>
                </a:lnTo>
                <a:lnTo>
                  <a:pt x="5331" y="3801"/>
                </a:lnTo>
                <a:lnTo>
                  <a:pt x="5327" y="3820"/>
                </a:lnTo>
                <a:lnTo>
                  <a:pt x="5323" y="3837"/>
                </a:lnTo>
                <a:lnTo>
                  <a:pt x="5316" y="3855"/>
                </a:lnTo>
                <a:lnTo>
                  <a:pt x="5307" y="3869"/>
                </a:lnTo>
                <a:lnTo>
                  <a:pt x="5297" y="3884"/>
                </a:lnTo>
                <a:lnTo>
                  <a:pt x="5286" y="3896"/>
                </a:lnTo>
                <a:lnTo>
                  <a:pt x="5273" y="3908"/>
                </a:lnTo>
                <a:lnTo>
                  <a:pt x="5260" y="3919"/>
                </a:lnTo>
                <a:lnTo>
                  <a:pt x="5246" y="3928"/>
                </a:lnTo>
                <a:lnTo>
                  <a:pt x="5231" y="3937"/>
                </a:lnTo>
                <a:lnTo>
                  <a:pt x="5215" y="3943"/>
                </a:lnTo>
                <a:lnTo>
                  <a:pt x="5199" y="3947"/>
                </a:lnTo>
                <a:lnTo>
                  <a:pt x="5183" y="3951"/>
                </a:lnTo>
                <a:lnTo>
                  <a:pt x="5167" y="3954"/>
                </a:lnTo>
                <a:lnTo>
                  <a:pt x="5150" y="3954"/>
                </a:lnTo>
                <a:lnTo>
                  <a:pt x="181" y="3954"/>
                </a:lnTo>
                <a:lnTo>
                  <a:pt x="165" y="3954"/>
                </a:lnTo>
                <a:lnTo>
                  <a:pt x="149" y="3951"/>
                </a:lnTo>
                <a:lnTo>
                  <a:pt x="133" y="3947"/>
                </a:lnTo>
                <a:lnTo>
                  <a:pt x="117" y="3943"/>
                </a:lnTo>
                <a:lnTo>
                  <a:pt x="101" y="3937"/>
                </a:lnTo>
                <a:lnTo>
                  <a:pt x="86" y="3928"/>
                </a:lnTo>
                <a:lnTo>
                  <a:pt x="71" y="3919"/>
                </a:lnTo>
                <a:lnTo>
                  <a:pt x="58" y="3908"/>
                </a:lnTo>
                <a:lnTo>
                  <a:pt x="46" y="3896"/>
                </a:lnTo>
                <a:lnTo>
                  <a:pt x="35" y="3884"/>
                </a:lnTo>
                <a:lnTo>
                  <a:pt x="25" y="3869"/>
                </a:lnTo>
                <a:lnTo>
                  <a:pt x="16" y="3855"/>
                </a:lnTo>
                <a:lnTo>
                  <a:pt x="9" y="3837"/>
                </a:lnTo>
                <a:lnTo>
                  <a:pt x="4" y="3820"/>
                </a:lnTo>
                <a:lnTo>
                  <a:pt x="1" y="3801"/>
                </a:lnTo>
                <a:lnTo>
                  <a:pt x="0" y="3782"/>
                </a:lnTo>
                <a:lnTo>
                  <a:pt x="0" y="172"/>
                </a:lnTo>
                <a:lnTo>
                  <a:pt x="1" y="153"/>
                </a:lnTo>
                <a:lnTo>
                  <a:pt x="4" y="134"/>
                </a:lnTo>
                <a:lnTo>
                  <a:pt x="9" y="117"/>
                </a:lnTo>
                <a:lnTo>
                  <a:pt x="16" y="101"/>
                </a:lnTo>
                <a:lnTo>
                  <a:pt x="25" y="85"/>
                </a:lnTo>
                <a:lnTo>
                  <a:pt x="35" y="70"/>
                </a:lnTo>
                <a:lnTo>
                  <a:pt x="46" y="58"/>
                </a:lnTo>
                <a:lnTo>
                  <a:pt x="58" y="46"/>
                </a:lnTo>
                <a:lnTo>
                  <a:pt x="71" y="35"/>
                </a:lnTo>
                <a:lnTo>
                  <a:pt x="86" y="25"/>
                </a:lnTo>
                <a:lnTo>
                  <a:pt x="101" y="17"/>
                </a:lnTo>
                <a:lnTo>
                  <a:pt x="117" y="11"/>
                </a:lnTo>
                <a:lnTo>
                  <a:pt x="133" y="7"/>
                </a:lnTo>
                <a:lnTo>
                  <a:pt x="149" y="3"/>
                </a:lnTo>
                <a:lnTo>
                  <a:pt x="165" y="0"/>
                </a:lnTo>
                <a:lnTo>
                  <a:pt x="181" y="0"/>
                </a:lnTo>
                <a:close/>
                <a:moveTo>
                  <a:pt x="5117" y="3739"/>
                </a:moveTo>
                <a:lnTo>
                  <a:pt x="5117" y="215"/>
                </a:lnTo>
                <a:lnTo>
                  <a:pt x="215" y="215"/>
                </a:lnTo>
                <a:lnTo>
                  <a:pt x="215" y="3739"/>
                </a:lnTo>
                <a:lnTo>
                  <a:pt x="5117" y="3739"/>
                </a:lnTo>
                <a:close/>
                <a:moveTo>
                  <a:pt x="2131" y="4304"/>
                </a:moveTo>
                <a:lnTo>
                  <a:pt x="2885" y="4304"/>
                </a:lnTo>
                <a:lnTo>
                  <a:pt x="2885" y="4411"/>
                </a:lnTo>
                <a:lnTo>
                  <a:pt x="2041" y="4411"/>
                </a:lnTo>
                <a:lnTo>
                  <a:pt x="1813" y="4548"/>
                </a:lnTo>
                <a:lnTo>
                  <a:pt x="3514" y="4548"/>
                </a:lnTo>
                <a:lnTo>
                  <a:pt x="3259" y="4393"/>
                </a:lnTo>
                <a:lnTo>
                  <a:pt x="3248" y="4386"/>
                </a:lnTo>
                <a:lnTo>
                  <a:pt x="3239" y="4378"/>
                </a:lnTo>
                <a:lnTo>
                  <a:pt x="3230" y="4371"/>
                </a:lnTo>
                <a:lnTo>
                  <a:pt x="3221" y="4363"/>
                </a:lnTo>
                <a:lnTo>
                  <a:pt x="3215" y="4355"/>
                </a:lnTo>
                <a:lnTo>
                  <a:pt x="3209" y="4347"/>
                </a:lnTo>
                <a:lnTo>
                  <a:pt x="3204" y="4339"/>
                </a:lnTo>
                <a:lnTo>
                  <a:pt x="3200" y="4330"/>
                </a:lnTo>
                <a:lnTo>
                  <a:pt x="3195" y="4311"/>
                </a:lnTo>
                <a:lnTo>
                  <a:pt x="3191" y="4291"/>
                </a:lnTo>
                <a:lnTo>
                  <a:pt x="3189" y="4269"/>
                </a:lnTo>
                <a:lnTo>
                  <a:pt x="3189" y="4246"/>
                </a:lnTo>
                <a:lnTo>
                  <a:pt x="3189" y="4061"/>
                </a:lnTo>
                <a:lnTo>
                  <a:pt x="3404" y="4061"/>
                </a:lnTo>
                <a:lnTo>
                  <a:pt x="3404" y="4174"/>
                </a:lnTo>
                <a:lnTo>
                  <a:pt x="3404" y="4195"/>
                </a:lnTo>
                <a:lnTo>
                  <a:pt x="3408" y="4213"/>
                </a:lnTo>
                <a:lnTo>
                  <a:pt x="3413" y="4226"/>
                </a:lnTo>
                <a:lnTo>
                  <a:pt x="3420" y="4238"/>
                </a:lnTo>
                <a:lnTo>
                  <a:pt x="3429" y="4248"/>
                </a:lnTo>
                <a:lnTo>
                  <a:pt x="3443" y="4257"/>
                </a:lnTo>
                <a:lnTo>
                  <a:pt x="3475" y="4277"/>
                </a:lnTo>
                <a:lnTo>
                  <a:pt x="3815" y="4479"/>
                </a:lnTo>
                <a:lnTo>
                  <a:pt x="3825" y="4485"/>
                </a:lnTo>
                <a:lnTo>
                  <a:pt x="3836" y="4493"/>
                </a:lnTo>
                <a:lnTo>
                  <a:pt x="3845" y="4503"/>
                </a:lnTo>
                <a:lnTo>
                  <a:pt x="3855" y="4512"/>
                </a:lnTo>
                <a:lnTo>
                  <a:pt x="3863" y="4521"/>
                </a:lnTo>
                <a:lnTo>
                  <a:pt x="3870" y="4532"/>
                </a:lnTo>
                <a:lnTo>
                  <a:pt x="3876" y="4543"/>
                </a:lnTo>
                <a:lnTo>
                  <a:pt x="3882" y="4554"/>
                </a:lnTo>
                <a:lnTo>
                  <a:pt x="3887" y="4566"/>
                </a:lnTo>
                <a:lnTo>
                  <a:pt x="3891" y="4577"/>
                </a:lnTo>
                <a:lnTo>
                  <a:pt x="3894" y="4589"/>
                </a:lnTo>
                <a:lnTo>
                  <a:pt x="3896" y="4601"/>
                </a:lnTo>
                <a:lnTo>
                  <a:pt x="3898" y="4613"/>
                </a:lnTo>
                <a:lnTo>
                  <a:pt x="3898" y="4625"/>
                </a:lnTo>
                <a:lnTo>
                  <a:pt x="3898" y="4637"/>
                </a:lnTo>
                <a:lnTo>
                  <a:pt x="3896" y="4648"/>
                </a:lnTo>
                <a:lnTo>
                  <a:pt x="3895" y="4660"/>
                </a:lnTo>
                <a:lnTo>
                  <a:pt x="3892" y="4670"/>
                </a:lnTo>
                <a:lnTo>
                  <a:pt x="3888" y="4681"/>
                </a:lnTo>
                <a:lnTo>
                  <a:pt x="3884" y="4692"/>
                </a:lnTo>
                <a:lnTo>
                  <a:pt x="3879" y="4703"/>
                </a:lnTo>
                <a:lnTo>
                  <a:pt x="3872" y="4712"/>
                </a:lnTo>
                <a:lnTo>
                  <a:pt x="3865" y="4720"/>
                </a:lnTo>
                <a:lnTo>
                  <a:pt x="3857" y="4728"/>
                </a:lnTo>
                <a:lnTo>
                  <a:pt x="3848" y="4736"/>
                </a:lnTo>
                <a:lnTo>
                  <a:pt x="3839" y="4743"/>
                </a:lnTo>
                <a:lnTo>
                  <a:pt x="3828" y="4748"/>
                </a:lnTo>
                <a:lnTo>
                  <a:pt x="3816" y="4754"/>
                </a:lnTo>
                <a:lnTo>
                  <a:pt x="3804" y="4758"/>
                </a:lnTo>
                <a:lnTo>
                  <a:pt x="3790" y="4760"/>
                </a:lnTo>
                <a:lnTo>
                  <a:pt x="3776" y="4762"/>
                </a:lnTo>
                <a:lnTo>
                  <a:pt x="3761" y="4763"/>
                </a:lnTo>
                <a:lnTo>
                  <a:pt x="1571" y="4763"/>
                </a:lnTo>
                <a:lnTo>
                  <a:pt x="1556" y="4762"/>
                </a:lnTo>
                <a:lnTo>
                  <a:pt x="1542" y="4760"/>
                </a:lnTo>
                <a:lnTo>
                  <a:pt x="1528" y="4758"/>
                </a:lnTo>
                <a:lnTo>
                  <a:pt x="1516" y="4754"/>
                </a:lnTo>
                <a:lnTo>
                  <a:pt x="1504" y="4748"/>
                </a:lnTo>
                <a:lnTo>
                  <a:pt x="1493" y="4743"/>
                </a:lnTo>
                <a:lnTo>
                  <a:pt x="1484" y="4736"/>
                </a:lnTo>
                <a:lnTo>
                  <a:pt x="1475" y="4728"/>
                </a:lnTo>
                <a:lnTo>
                  <a:pt x="1467" y="4720"/>
                </a:lnTo>
                <a:lnTo>
                  <a:pt x="1460" y="4712"/>
                </a:lnTo>
                <a:lnTo>
                  <a:pt x="1453" y="4703"/>
                </a:lnTo>
                <a:lnTo>
                  <a:pt x="1448" y="4692"/>
                </a:lnTo>
                <a:lnTo>
                  <a:pt x="1444" y="4681"/>
                </a:lnTo>
                <a:lnTo>
                  <a:pt x="1440" y="4670"/>
                </a:lnTo>
                <a:lnTo>
                  <a:pt x="1437" y="4660"/>
                </a:lnTo>
                <a:lnTo>
                  <a:pt x="1436" y="4648"/>
                </a:lnTo>
                <a:lnTo>
                  <a:pt x="1434" y="4637"/>
                </a:lnTo>
                <a:lnTo>
                  <a:pt x="1434" y="4625"/>
                </a:lnTo>
                <a:lnTo>
                  <a:pt x="1434" y="4613"/>
                </a:lnTo>
                <a:lnTo>
                  <a:pt x="1436" y="4601"/>
                </a:lnTo>
                <a:lnTo>
                  <a:pt x="1438" y="4589"/>
                </a:lnTo>
                <a:lnTo>
                  <a:pt x="1441" y="4577"/>
                </a:lnTo>
                <a:lnTo>
                  <a:pt x="1445" y="4566"/>
                </a:lnTo>
                <a:lnTo>
                  <a:pt x="1450" y="4554"/>
                </a:lnTo>
                <a:lnTo>
                  <a:pt x="1456" y="4543"/>
                </a:lnTo>
                <a:lnTo>
                  <a:pt x="1462" y="4532"/>
                </a:lnTo>
                <a:lnTo>
                  <a:pt x="1469" y="4521"/>
                </a:lnTo>
                <a:lnTo>
                  <a:pt x="1477" y="4512"/>
                </a:lnTo>
                <a:lnTo>
                  <a:pt x="1487" y="4503"/>
                </a:lnTo>
                <a:lnTo>
                  <a:pt x="1496" y="4493"/>
                </a:lnTo>
                <a:lnTo>
                  <a:pt x="1507" y="4485"/>
                </a:lnTo>
                <a:lnTo>
                  <a:pt x="1517" y="4479"/>
                </a:lnTo>
                <a:lnTo>
                  <a:pt x="1864" y="4276"/>
                </a:lnTo>
                <a:lnTo>
                  <a:pt x="1877" y="4267"/>
                </a:lnTo>
                <a:lnTo>
                  <a:pt x="1890" y="4256"/>
                </a:lnTo>
                <a:lnTo>
                  <a:pt x="1901" y="4242"/>
                </a:lnTo>
                <a:lnTo>
                  <a:pt x="1911" y="4226"/>
                </a:lnTo>
                <a:lnTo>
                  <a:pt x="1919" y="4210"/>
                </a:lnTo>
                <a:lnTo>
                  <a:pt x="1924" y="4194"/>
                </a:lnTo>
                <a:lnTo>
                  <a:pt x="1928" y="4175"/>
                </a:lnTo>
                <a:lnTo>
                  <a:pt x="1928" y="4158"/>
                </a:lnTo>
                <a:lnTo>
                  <a:pt x="1928" y="4061"/>
                </a:lnTo>
                <a:lnTo>
                  <a:pt x="2143" y="4061"/>
                </a:lnTo>
                <a:lnTo>
                  <a:pt x="2143" y="4197"/>
                </a:lnTo>
                <a:lnTo>
                  <a:pt x="2143" y="4225"/>
                </a:lnTo>
                <a:lnTo>
                  <a:pt x="2140" y="4256"/>
                </a:lnTo>
                <a:lnTo>
                  <a:pt x="2137" y="4284"/>
                </a:lnTo>
                <a:lnTo>
                  <a:pt x="2135" y="4296"/>
                </a:lnTo>
                <a:lnTo>
                  <a:pt x="2131" y="4304"/>
                </a:lnTo>
                <a:close/>
              </a:path>
            </a:pathLst>
          </a:custGeom>
          <a:solidFill>
            <a:srgbClr val="0E80A5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68" name="Freeform 75"/>
          <p:cNvSpPr>
            <a:spLocks noChangeAspect="1" noEditPoints="1"/>
          </p:cNvSpPr>
          <p:nvPr/>
        </p:nvSpPr>
        <p:spPr bwMode="auto">
          <a:xfrm>
            <a:off x="578206" y="5076820"/>
            <a:ext cx="380505" cy="360121"/>
          </a:xfrm>
          <a:custGeom>
            <a:avLst/>
            <a:gdLst>
              <a:gd name="T0" fmla="*/ 2147483647 w 5040"/>
              <a:gd name="T1" fmla="*/ 0 h 4763"/>
              <a:gd name="T2" fmla="*/ 2147483647 w 5040"/>
              <a:gd name="T3" fmla="*/ 0 h 4763"/>
              <a:gd name="T4" fmla="*/ 2147483647 w 5040"/>
              <a:gd name="T5" fmla="*/ 2147483647 h 4763"/>
              <a:gd name="T6" fmla="*/ 0 w 5040"/>
              <a:gd name="T7" fmla="*/ 2147483647 h 4763"/>
              <a:gd name="T8" fmla="*/ 0 w 5040"/>
              <a:gd name="T9" fmla="*/ 2147483647 h 4763"/>
              <a:gd name="T10" fmla="*/ 2147483647 w 5040"/>
              <a:gd name="T11" fmla="*/ 2147483647 h 4763"/>
              <a:gd name="T12" fmla="*/ 2147483647 w 5040"/>
              <a:gd name="T13" fmla="*/ 2147483647 h 4763"/>
              <a:gd name="T14" fmla="*/ 2147483647 w 5040"/>
              <a:gd name="T15" fmla="*/ 2147483647 h 4763"/>
              <a:gd name="T16" fmla="*/ 2147483647 w 5040"/>
              <a:gd name="T17" fmla="*/ 2147483647 h 4763"/>
              <a:gd name="T18" fmla="*/ 2147483647 w 5040"/>
              <a:gd name="T19" fmla="*/ 2147483647 h 4763"/>
              <a:gd name="T20" fmla="*/ 2147483647 w 5040"/>
              <a:gd name="T21" fmla="*/ 2147483647 h 4763"/>
              <a:gd name="T22" fmla="*/ 2147483647 w 5040"/>
              <a:gd name="T23" fmla="*/ 2147483647 h 4763"/>
              <a:gd name="T24" fmla="*/ 2147483647 w 5040"/>
              <a:gd name="T25" fmla="*/ 0 h 4763"/>
              <a:gd name="T26" fmla="*/ 2147483647 w 5040"/>
              <a:gd name="T27" fmla="*/ 2147483647 h 4763"/>
              <a:gd name="T28" fmla="*/ 2147483647 w 5040"/>
              <a:gd name="T29" fmla="*/ 2147483647 h 4763"/>
              <a:gd name="T30" fmla="*/ 2147483647 w 5040"/>
              <a:gd name="T31" fmla="*/ 2147483647 h 4763"/>
              <a:gd name="T32" fmla="*/ 2147483647 w 5040"/>
              <a:gd name="T33" fmla="*/ 2147483647 h 4763"/>
              <a:gd name="T34" fmla="*/ 2147483647 w 5040"/>
              <a:gd name="T35" fmla="*/ 2147483647 h 4763"/>
              <a:gd name="T36" fmla="*/ 2147483647 w 5040"/>
              <a:gd name="T37" fmla="*/ 2147483647 h 4763"/>
              <a:gd name="T38" fmla="*/ 2147483647 w 5040"/>
              <a:gd name="T39" fmla="*/ 2147483647 h 4763"/>
              <a:gd name="T40" fmla="*/ 2147483647 w 5040"/>
              <a:gd name="T41" fmla="*/ 2147483647 h 4763"/>
              <a:gd name="T42" fmla="*/ 2147483647 w 5040"/>
              <a:gd name="T43" fmla="*/ 2147483647 h 4763"/>
              <a:gd name="T44" fmla="*/ 2147483647 w 5040"/>
              <a:gd name="T45" fmla="*/ 2147483647 h 4763"/>
              <a:gd name="T46" fmla="*/ 2147483647 w 5040"/>
              <a:gd name="T47" fmla="*/ 2147483647 h 4763"/>
              <a:gd name="T48" fmla="*/ 2147483647 w 5040"/>
              <a:gd name="T49" fmla="*/ 2147483647 h 4763"/>
              <a:gd name="T50" fmla="*/ 2147483647 w 5040"/>
              <a:gd name="T51" fmla="*/ 2147483647 h 4763"/>
              <a:gd name="T52" fmla="*/ 2147483647 w 5040"/>
              <a:gd name="T53" fmla="*/ 2147483647 h 4763"/>
              <a:gd name="T54" fmla="*/ 2147483647 w 5040"/>
              <a:gd name="T55" fmla="*/ 2147483647 h 4763"/>
              <a:gd name="T56" fmla="*/ 2147483647 w 5040"/>
              <a:gd name="T57" fmla="*/ 2147483647 h 4763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5040"/>
              <a:gd name="T88" fmla="*/ 0 h 4763"/>
              <a:gd name="T89" fmla="*/ 5040 w 5040"/>
              <a:gd name="T90" fmla="*/ 4763 h 4763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5040" h="4763">
                <a:moveTo>
                  <a:pt x="479" y="0"/>
                </a:moveTo>
                <a:lnTo>
                  <a:pt x="266" y="0"/>
                </a:lnTo>
                <a:lnTo>
                  <a:pt x="266" y="4270"/>
                </a:lnTo>
                <a:lnTo>
                  <a:pt x="0" y="4270"/>
                </a:lnTo>
                <a:lnTo>
                  <a:pt x="0" y="4484"/>
                </a:lnTo>
                <a:lnTo>
                  <a:pt x="266" y="4484"/>
                </a:lnTo>
                <a:lnTo>
                  <a:pt x="266" y="4763"/>
                </a:lnTo>
                <a:lnTo>
                  <a:pt x="479" y="4763"/>
                </a:lnTo>
                <a:lnTo>
                  <a:pt x="479" y="4484"/>
                </a:lnTo>
                <a:lnTo>
                  <a:pt x="4750" y="4484"/>
                </a:lnTo>
                <a:lnTo>
                  <a:pt x="4750" y="4270"/>
                </a:lnTo>
                <a:lnTo>
                  <a:pt x="479" y="4270"/>
                </a:lnTo>
                <a:lnTo>
                  <a:pt x="479" y="0"/>
                </a:lnTo>
                <a:close/>
                <a:moveTo>
                  <a:pt x="1971" y="2765"/>
                </a:moveTo>
                <a:lnTo>
                  <a:pt x="2407" y="3214"/>
                </a:lnTo>
                <a:lnTo>
                  <a:pt x="3112" y="2062"/>
                </a:lnTo>
                <a:lnTo>
                  <a:pt x="3999" y="2851"/>
                </a:lnTo>
                <a:lnTo>
                  <a:pt x="5040" y="1486"/>
                </a:lnTo>
                <a:lnTo>
                  <a:pt x="4983" y="1080"/>
                </a:lnTo>
                <a:lnTo>
                  <a:pt x="4578" y="1137"/>
                </a:lnTo>
                <a:lnTo>
                  <a:pt x="3692" y="2288"/>
                </a:lnTo>
                <a:lnTo>
                  <a:pt x="3063" y="1733"/>
                </a:lnTo>
                <a:lnTo>
                  <a:pt x="2368" y="2867"/>
                </a:lnTo>
                <a:lnTo>
                  <a:pt x="1933" y="2419"/>
                </a:lnTo>
                <a:lnTo>
                  <a:pt x="1327" y="3407"/>
                </a:lnTo>
                <a:lnTo>
                  <a:pt x="860" y="2881"/>
                </a:lnTo>
                <a:lnTo>
                  <a:pt x="700" y="3022"/>
                </a:lnTo>
                <a:lnTo>
                  <a:pt x="1359" y="3764"/>
                </a:lnTo>
                <a:lnTo>
                  <a:pt x="1971" y="2765"/>
                </a:lnTo>
                <a:close/>
              </a:path>
            </a:pathLst>
          </a:custGeom>
          <a:solidFill>
            <a:srgbClr val="0E80A5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pic>
        <p:nvPicPr>
          <p:cNvPr id="40" name="Рисунок 3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4930" y="133244"/>
            <a:ext cx="704673" cy="669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46350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1317462" y="95250"/>
            <a:ext cx="847843" cy="581106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334109" y="333643"/>
            <a:ext cx="86327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rgbClr val="0E80A5"/>
                </a:solidFill>
                <a:latin typeface="Trebuchet MS" panose="020B0603020202020204" pitchFamily="34" charset="0"/>
              </a:rPr>
              <a:t>КЛЮЧЕВЫЕ МЕХАНИЗМЫ ВЗАИМОДЕЙСТВИЯ И РАЗВИТИЕ СОВМЕСТНЫМИ УСИЛИЯМИ 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164803" y="5185609"/>
            <a:ext cx="3731920" cy="738664"/>
          </a:xfrm>
          <a:prstGeom prst="rect">
            <a:avLst/>
          </a:prstGeom>
          <a:solidFill>
            <a:srgbClr val="008B94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Trebuchet MS" panose="020B0603020202020204" pitchFamily="34" charset="0"/>
              </a:rPr>
              <a:t>Привлечение экспертов предприятий на Демонстрационный экзамен, по профильным специальностям 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0797058" y="6550223"/>
            <a:ext cx="13682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400" dirty="0">
                <a:solidFill>
                  <a:srgbClr val="0E80A5"/>
                </a:solidFill>
                <a:latin typeface="Trebuchet MS" panose="020B0603020202020204" pitchFamily="34" charset="0"/>
              </a:rPr>
              <a:t>4</a:t>
            </a:r>
          </a:p>
        </p:txBody>
      </p:sp>
      <p:pic>
        <p:nvPicPr>
          <p:cNvPr id="41" name="Picture 4" descr="https://upload.wikimedia.org/wikipedia/ru/f/f0/Sibur_logo.png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16314" y="127555"/>
            <a:ext cx="1401148" cy="4685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Группа 1"/>
          <p:cNvGrpSpPr/>
          <p:nvPr/>
        </p:nvGrpSpPr>
        <p:grpSpPr>
          <a:xfrm>
            <a:off x="2974167" y="2644425"/>
            <a:ext cx="6211343" cy="2869010"/>
            <a:chOff x="878525" y="2148573"/>
            <a:chExt cx="8195934" cy="4069448"/>
          </a:xfrm>
        </p:grpSpPr>
        <p:sp>
          <p:nvSpPr>
            <p:cNvPr id="98" name="Conversation"/>
            <p:cNvSpPr>
              <a:spLocks noChangeAspect="1"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3895162" y="2148573"/>
              <a:ext cx="604408" cy="493568"/>
            </a:xfrm>
            <a:custGeom>
              <a:avLst/>
              <a:gdLst>
                <a:gd name="T0" fmla="*/ 961 w 3075"/>
                <a:gd name="T1" fmla="*/ 0 h 2507"/>
                <a:gd name="T2" fmla="*/ 303 w 3075"/>
                <a:gd name="T3" fmla="*/ 658 h 2507"/>
                <a:gd name="T4" fmla="*/ 961 w 3075"/>
                <a:gd name="T5" fmla="*/ 1317 h 2507"/>
                <a:gd name="T6" fmla="*/ 1379 w 3075"/>
                <a:gd name="T7" fmla="*/ 1167 h 2507"/>
                <a:gd name="T8" fmla="*/ 1621 w 3075"/>
                <a:gd name="T9" fmla="*/ 1256 h 2507"/>
                <a:gd name="T10" fmla="*/ 1507 w 3075"/>
                <a:gd name="T11" fmla="*/ 1026 h 2507"/>
                <a:gd name="T12" fmla="*/ 1620 w 3075"/>
                <a:gd name="T13" fmla="*/ 658 h 2507"/>
                <a:gd name="T14" fmla="*/ 961 w 3075"/>
                <a:gd name="T15" fmla="*/ 0 h 2507"/>
                <a:gd name="T16" fmla="*/ 1892 w 3075"/>
                <a:gd name="T17" fmla="*/ 1345 h 2507"/>
                <a:gd name="T18" fmla="*/ 1540 w 3075"/>
                <a:gd name="T19" fmla="*/ 1673 h 2507"/>
                <a:gd name="T20" fmla="*/ 1892 w 3075"/>
                <a:gd name="T21" fmla="*/ 2001 h 2507"/>
                <a:gd name="T22" fmla="*/ 2244 w 3075"/>
                <a:gd name="T23" fmla="*/ 1673 h 2507"/>
                <a:gd name="T24" fmla="*/ 1892 w 3075"/>
                <a:gd name="T25" fmla="*/ 1345 h 2507"/>
                <a:gd name="T26" fmla="*/ 297 w 3075"/>
                <a:gd name="T27" fmla="*/ 1620 h 2507"/>
                <a:gd name="T28" fmla="*/ 76 w 3075"/>
                <a:gd name="T29" fmla="*/ 1826 h 2507"/>
                <a:gd name="T30" fmla="*/ 297 w 3075"/>
                <a:gd name="T31" fmla="*/ 2031 h 2507"/>
                <a:gd name="T32" fmla="*/ 517 w 3075"/>
                <a:gd name="T33" fmla="*/ 1826 h 2507"/>
                <a:gd name="T34" fmla="*/ 297 w 3075"/>
                <a:gd name="T35" fmla="*/ 1620 h 2507"/>
                <a:gd name="T36" fmla="*/ 1006 w 3075"/>
                <a:gd name="T37" fmla="*/ 1620 h 2507"/>
                <a:gd name="T38" fmla="*/ 785 w 3075"/>
                <a:gd name="T39" fmla="*/ 1826 h 2507"/>
                <a:gd name="T40" fmla="*/ 1006 w 3075"/>
                <a:gd name="T41" fmla="*/ 2031 h 2507"/>
                <a:gd name="T42" fmla="*/ 1226 w 3075"/>
                <a:gd name="T43" fmla="*/ 1826 h 2507"/>
                <a:gd name="T44" fmla="*/ 1006 w 3075"/>
                <a:gd name="T45" fmla="*/ 1620 h 2507"/>
                <a:gd name="T46" fmla="*/ 2778 w 3075"/>
                <a:gd name="T47" fmla="*/ 1620 h 2507"/>
                <a:gd name="T48" fmla="*/ 2558 w 3075"/>
                <a:gd name="T49" fmla="*/ 1826 h 2507"/>
                <a:gd name="T50" fmla="*/ 2778 w 3075"/>
                <a:gd name="T51" fmla="*/ 2031 h 2507"/>
                <a:gd name="T52" fmla="*/ 2999 w 3075"/>
                <a:gd name="T53" fmla="*/ 1826 h 2507"/>
                <a:gd name="T54" fmla="*/ 2778 w 3075"/>
                <a:gd name="T55" fmla="*/ 1620 h 2507"/>
                <a:gd name="T56" fmla="*/ 1661 w 3075"/>
                <a:gd name="T57" fmla="*/ 2046 h 2507"/>
                <a:gd name="T58" fmla="*/ 1418 w 3075"/>
                <a:gd name="T59" fmla="*/ 2289 h 2507"/>
                <a:gd name="T60" fmla="*/ 1418 w 3075"/>
                <a:gd name="T61" fmla="*/ 2507 h 2507"/>
                <a:gd name="T62" fmla="*/ 2366 w 3075"/>
                <a:gd name="T63" fmla="*/ 2507 h 2507"/>
                <a:gd name="T64" fmla="*/ 2366 w 3075"/>
                <a:gd name="T65" fmla="*/ 2289 h 2507"/>
                <a:gd name="T66" fmla="*/ 2123 w 3075"/>
                <a:gd name="T67" fmla="*/ 2046 h 2507"/>
                <a:gd name="T68" fmla="*/ 1661 w 3075"/>
                <a:gd name="T69" fmla="*/ 2046 h 2507"/>
                <a:gd name="T70" fmla="*/ 152 w 3075"/>
                <a:gd name="T71" fmla="*/ 2089 h 2507"/>
                <a:gd name="T72" fmla="*/ 0 w 3075"/>
                <a:gd name="T73" fmla="*/ 2242 h 2507"/>
                <a:gd name="T74" fmla="*/ 0 w 3075"/>
                <a:gd name="T75" fmla="*/ 2378 h 2507"/>
                <a:gd name="T76" fmla="*/ 593 w 3075"/>
                <a:gd name="T77" fmla="*/ 2378 h 2507"/>
                <a:gd name="T78" fmla="*/ 593 w 3075"/>
                <a:gd name="T79" fmla="*/ 2242 h 2507"/>
                <a:gd name="T80" fmla="*/ 441 w 3075"/>
                <a:gd name="T81" fmla="*/ 2089 h 2507"/>
                <a:gd name="T82" fmla="*/ 152 w 3075"/>
                <a:gd name="T83" fmla="*/ 2089 h 2507"/>
                <a:gd name="T84" fmla="*/ 861 w 3075"/>
                <a:gd name="T85" fmla="*/ 2089 h 2507"/>
                <a:gd name="T86" fmla="*/ 709 w 3075"/>
                <a:gd name="T87" fmla="*/ 2242 h 2507"/>
                <a:gd name="T88" fmla="*/ 709 w 3075"/>
                <a:gd name="T89" fmla="*/ 2378 h 2507"/>
                <a:gd name="T90" fmla="*/ 1302 w 3075"/>
                <a:gd name="T91" fmla="*/ 2378 h 2507"/>
                <a:gd name="T92" fmla="*/ 1302 w 3075"/>
                <a:gd name="T93" fmla="*/ 2242 h 2507"/>
                <a:gd name="T94" fmla="*/ 1150 w 3075"/>
                <a:gd name="T95" fmla="*/ 2089 h 2507"/>
                <a:gd name="T96" fmla="*/ 861 w 3075"/>
                <a:gd name="T97" fmla="*/ 2089 h 2507"/>
                <a:gd name="T98" fmla="*/ 2634 w 3075"/>
                <a:gd name="T99" fmla="*/ 2089 h 2507"/>
                <a:gd name="T100" fmla="*/ 2482 w 3075"/>
                <a:gd name="T101" fmla="*/ 2242 h 2507"/>
                <a:gd name="T102" fmla="*/ 2482 w 3075"/>
                <a:gd name="T103" fmla="*/ 2378 h 2507"/>
                <a:gd name="T104" fmla="*/ 3075 w 3075"/>
                <a:gd name="T105" fmla="*/ 2378 h 2507"/>
                <a:gd name="T106" fmla="*/ 3075 w 3075"/>
                <a:gd name="T107" fmla="*/ 2242 h 2507"/>
                <a:gd name="T108" fmla="*/ 2923 w 3075"/>
                <a:gd name="T109" fmla="*/ 2089 h 2507"/>
                <a:gd name="T110" fmla="*/ 2634 w 3075"/>
                <a:gd name="T111" fmla="*/ 2089 h 2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075" h="2507">
                  <a:moveTo>
                    <a:pt x="961" y="0"/>
                  </a:moveTo>
                  <a:cubicBezTo>
                    <a:pt x="598" y="0"/>
                    <a:pt x="303" y="295"/>
                    <a:pt x="303" y="658"/>
                  </a:cubicBezTo>
                  <a:cubicBezTo>
                    <a:pt x="303" y="1022"/>
                    <a:pt x="598" y="1317"/>
                    <a:pt x="961" y="1317"/>
                  </a:cubicBezTo>
                  <a:cubicBezTo>
                    <a:pt x="1120" y="1317"/>
                    <a:pt x="1266" y="1260"/>
                    <a:pt x="1379" y="1167"/>
                  </a:cubicBezTo>
                  <a:lnTo>
                    <a:pt x="1621" y="1256"/>
                  </a:lnTo>
                  <a:lnTo>
                    <a:pt x="1507" y="1026"/>
                  </a:lnTo>
                  <a:cubicBezTo>
                    <a:pt x="1578" y="921"/>
                    <a:pt x="1620" y="795"/>
                    <a:pt x="1620" y="658"/>
                  </a:cubicBezTo>
                  <a:cubicBezTo>
                    <a:pt x="1620" y="295"/>
                    <a:pt x="1325" y="0"/>
                    <a:pt x="961" y="0"/>
                  </a:cubicBezTo>
                  <a:close/>
                  <a:moveTo>
                    <a:pt x="1892" y="1345"/>
                  </a:moveTo>
                  <a:cubicBezTo>
                    <a:pt x="1698" y="1345"/>
                    <a:pt x="1540" y="1492"/>
                    <a:pt x="1540" y="1673"/>
                  </a:cubicBezTo>
                  <a:cubicBezTo>
                    <a:pt x="1540" y="1854"/>
                    <a:pt x="1698" y="2001"/>
                    <a:pt x="1892" y="2001"/>
                  </a:cubicBezTo>
                  <a:cubicBezTo>
                    <a:pt x="2087" y="2001"/>
                    <a:pt x="2244" y="1854"/>
                    <a:pt x="2244" y="1673"/>
                  </a:cubicBezTo>
                  <a:cubicBezTo>
                    <a:pt x="2244" y="1492"/>
                    <a:pt x="2087" y="1345"/>
                    <a:pt x="1892" y="1345"/>
                  </a:cubicBezTo>
                  <a:close/>
                  <a:moveTo>
                    <a:pt x="297" y="1620"/>
                  </a:moveTo>
                  <a:cubicBezTo>
                    <a:pt x="175" y="1620"/>
                    <a:pt x="76" y="1712"/>
                    <a:pt x="76" y="1826"/>
                  </a:cubicBezTo>
                  <a:cubicBezTo>
                    <a:pt x="76" y="1939"/>
                    <a:pt x="175" y="2031"/>
                    <a:pt x="297" y="2031"/>
                  </a:cubicBezTo>
                  <a:cubicBezTo>
                    <a:pt x="418" y="2031"/>
                    <a:pt x="517" y="1939"/>
                    <a:pt x="517" y="1826"/>
                  </a:cubicBezTo>
                  <a:cubicBezTo>
                    <a:pt x="517" y="1712"/>
                    <a:pt x="418" y="1620"/>
                    <a:pt x="297" y="1620"/>
                  </a:cubicBezTo>
                  <a:close/>
                  <a:moveTo>
                    <a:pt x="1006" y="1620"/>
                  </a:moveTo>
                  <a:cubicBezTo>
                    <a:pt x="884" y="1620"/>
                    <a:pt x="785" y="1712"/>
                    <a:pt x="785" y="1826"/>
                  </a:cubicBezTo>
                  <a:cubicBezTo>
                    <a:pt x="785" y="1939"/>
                    <a:pt x="884" y="2031"/>
                    <a:pt x="1006" y="2031"/>
                  </a:cubicBezTo>
                  <a:cubicBezTo>
                    <a:pt x="1128" y="2031"/>
                    <a:pt x="1226" y="1939"/>
                    <a:pt x="1226" y="1826"/>
                  </a:cubicBezTo>
                  <a:cubicBezTo>
                    <a:pt x="1226" y="1712"/>
                    <a:pt x="1128" y="1620"/>
                    <a:pt x="1006" y="1620"/>
                  </a:cubicBezTo>
                  <a:close/>
                  <a:moveTo>
                    <a:pt x="2778" y="1620"/>
                  </a:moveTo>
                  <a:cubicBezTo>
                    <a:pt x="2657" y="1620"/>
                    <a:pt x="2558" y="1712"/>
                    <a:pt x="2558" y="1826"/>
                  </a:cubicBezTo>
                  <a:cubicBezTo>
                    <a:pt x="2558" y="1939"/>
                    <a:pt x="2657" y="2031"/>
                    <a:pt x="2778" y="2031"/>
                  </a:cubicBezTo>
                  <a:cubicBezTo>
                    <a:pt x="2900" y="2031"/>
                    <a:pt x="2999" y="1939"/>
                    <a:pt x="2999" y="1826"/>
                  </a:cubicBezTo>
                  <a:cubicBezTo>
                    <a:pt x="2999" y="1712"/>
                    <a:pt x="2900" y="1620"/>
                    <a:pt x="2778" y="1620"/>
                  </a:cubicBezTo>
                  <a:close/>
                  <a:moveTo>
                    <a:pt x="1661" y="2046"/>
                  </a:moveTo>
                  <a:cubicBezTo>
                    <a:pt x="1527" y="2046"/>
                    <a:pt x="1418" y="2154"/>
                    <a:pt x="1418" y="2289"/>
                  </a:cubicBezTo>
                  <a:lnTo>
                    <a:pt x="1418" y="2507"/>
                  </a:lnTo>
                  <a:lnTo>
                    <a:pt x="2366" y="2507"/>
                  </a:lnTo>
                  <a:lnTo>
                    <a:pt x="2366" y="2289"/>
                  </a:lnTo>
                  <a:cubicBezTo>
                    <a:pt x="2366" y="2154"/>
                    <a:pt x="2257" y="2046"/>
                    <a:pt x="2123" y="2046"/>
                  </a:cubicBezTo>
                  <a:lnTo>
                    <a:pt x="1661" y="2046"/>
                  </a:lnTo>
                  <a:close/>
                  <a:moveTo>
                    <a:pt x="152" y="2089"/>
                  </a:moveTo>
                  <a:cubicBezTo>
                    <a:pt x="68" y="2089"/>
                    <a:pt x="0" y="2157"/>
                    <a:pt x="0" y="2242"/>
                  </a:cubicBezTo>
                  <a:lnTo>
                    <a:pt x="0" y="2378"/>
                  </a:lnTo>
                  <a:lnTo>
                    <a:pt x="593" y="2378"/>
                  </a:lnTo>
                  <a:lnTo>
                    <a:pt x="593" y="2242"/>
                  </a:lnTo>
                  <a:cubicBezTo>
                    <a:pt x="593" y="2157"/>
                    <a:pt x="525" y="2089"/>
                    <a:pt x="441" y="2089"/>
                  </a:cubicBezTo>
                  <a:lnTo>
                    <a:pt x="152" y="2089"/>
                  </a:lnTo>
                  <a:close/>
                  <a:moveTo>
                    <a:pt x="861" y="2089"/>
                  </a:moveTo>
                  <a:cubicBezTo>
                    <a:pt x="777" y="2089"/>
                    <a:pt x="709" y="2157"/>
                    <a:pt x="709" y="2242"/>
                  </a:cubicBezTo>
                  <a:lnTo>
                    <a:pt x="709" y="2378"/>
                  </a:lnTo>
                  <a:lnTo>
                    <a:pt x="1302" y="2378"/>
                  </a:lnTo>
                  <a:lnTo>
                    <a:pt x="1302" y="2242"/>
                  </a:lnTo>
                  <a:cubicBezTo>
                    <a:pt x="1302" y="2157"/>
                    <a:pt x="1234" y="2089"/>
                    <a:pt x="1150" y="2089"/>
                  </a:cubicBezTo>
                  <a:lnTo>
                    <a:pt x="861" y="2089"/>
                  </a:lnTo>
                  <a:close/>
                  <a:moveTo>
                    <a:pt x="2634" y="2089"/>
                  </a:moveTo>
                  <a:cubicBezTo>
                    <a:pt x="2550" y="2089"/>
                    <a:pt x="2482" y="2157"/>
                    <a:pt x="2482" y="2242"/>
                  </a:cubicBezTo>
                  <a:lnTo>
                    <a:pt x="2482" y="2378"/>
                  </a:lnTo>
                  <a:lnTo>
                    <a:pt x="3075" y="2378"/>
                  </a:lnTo>
                  <a:lnTo>
                    <a:pt x="3075" y="2242"/>
                  </a:lnTo>
                  <a:cubicBezTo>
                    <a:pt x="3075" y="2157"/>
                    <a:pt x="3007" y="2089"/>
                    <a:pt x="2923" y="2089"/>
                  </a:cubicBezTo>
                  <a:lnTo>
                    <a:pt x="2634" y="208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9" name="Dove"/>
            <p:cNvSpPr>
              <a:spLocks noChangeAspect="1"/>
            </p:cNvSpPr>
            <p:nvPr>
              <p:custDataLst>
                <p:tags r:id="rId2"/>
              </p:custDataLst>
            </p:nvPr>
          </p:nvSpPr>
          <p:spPr bwMode="auto">
            <a:xfrm>
              <a:off x="4840940" y="4662540"/>
              <a:ext cx="583345" cy="493568"/>
            </a:xfrm>
            <a:custGeom>
              <a:avLst/>
              <a:gdLst>
                <a:gd name="T0" fmla="*/ 1931 w 18985"/>
                <a:gd name="T1" fmla="*/ 61 h 16032"/>
                <a:gd name="T2" fmla="*/ 3278 w 18985"/>
                <a:gd name="T3" fmla="*/ 2399 h 16032"/>
                <a:gd name="T4" fmla="*/ 2879 w 18985"/>
                <a:gd name="T5" fmla="*/ 544 h 16032"/>
                <a:gd name="T6" fmla="*/ 3184 w 18985"/>
                <a:gd name="T7" fmla="*/ 433 h 16032"/>
                <a:gd name="T8" fmla="*/ 3362 w 18985"/>
                <a:gd name="T9" fmla="*/ 1348 h 16032"/>
                <a:gd name="T10" fmla="*/ 5425 w 18985"/>
                <a:gd name="T11" fmla="*/ 4442 h 16032"/>
                <a:gd name="T12" fmla="*/ 8877 w 18985"/>
                <a:gd name="T13" fmla="*/ 7103 h 16032"/>
                <a:gd name="T14" fmla="*/ 11363 w 18985"/>
                <a:gd name="T15" fmla="*/ 7969 h 16032"/>
                <a:gd name="T16" fmla="*/ 12621 w 18985"/>
                <a:gd name="T17" fmla="*/ 6125 h 16032"/>
                <a:gd name="T18" fmla="*/ 12889 w 18985"/>
                <a:gd name="T19" fmla="*/ 6238 h 16032"/>
                <a:gd name="T20" fmla="*/ 13244 w 18985"/>
                <a:gd name="T21" fmla="*/ 4536 h 16032"/>
                <a:gd name="T22" fmla="*/ 13727 w 18985"/>
                <a:gd name="T23" fmla="*/ 4412 h 16032"/>
                <a:gd name="T24" fmla="*/ 14132 w 18985"/>
                <a:gd name="T25" fmla="*/ 3338 h 16032"/>
                <a:gd name="T26" fmla="*/ 14734 w 18985"/>
                <a:gd name="T27" fmla="*/ 4070 h 16032"/>
                <a:gd name="T28" fmla="*/ 14639 w 18985"/>
                <a:gd name="T29" fmla="*/ 3769 h 16032"/>
                <a:gd name="T30" fmla="*/ 14456 w 18985"/>
                <a:gd name="T31" fmla="*/ 2375 h 16032"/>
                <a:gd name="T32" fmla="*/ 15097 w 18985"/>
                <a:gd name="T33" fmla="*/ 2220 h 16032"/>
                <a:gd name="T34" fmla="*/ 15389 w 18985"/>
                <a:gd name="T35" fmla="*/ 2361 h 16032"/>
                <a:gd name="T36" fmla="*/ 15874 w 18985"/>
                <a:gd name="T37" fmla="*/ 998 h 16032"/>
                <a:gd name="T38" fmla="*/ 16351 w 18985"/>
                <a:gd name="T39" fmla="*/ 2225 h 16032"/>
                <a:gd name="T40" fmla="*/ 16608 w 18985"/>
                <a:gd name="T41" fmla="*/ 987 h 16032"/>
                <a:gd name="T42" fmla="*/ 17465 w 18985"/>
                <a:gd name="T43" fmla="*/ 141 h 16032"/>
                <a:gd name="T44" fmla="*/ 17536 w 18985"/>
                <a:gd name="T45" fmla="*/ 1825 h 16032"/>
                <a:gd name="T46" fmla="*/ 18215 w 18985"/>
                <a:gd name="T47" fmla="*/ 756 h 16032"/>
                <a:gd name="T48" fmla="*/ 18774 w 18985"/>
                <a:gd name="T49" fmla="*/ 779 h 16032"/>
                <a:gd name="T50" fmla="*/ 18724 w 18985"/>
                <a:gd name="T51" fmla="*/ 4088 h 16032"/>
                <a:gd name="T52" fmla="*/ 15294 w 18985"/>
                <a:gd name="T53" fmla="*/ 8425 h 16032"/>
                <a:gd name="T54" fmla="*/ 14089 w 18985"/>
                <a:gd name="T55" fmla="*/ 9983 h 16032"/>
                <a:gd name="T56" fmla="*/ 15295 w 18985"/>
                <a:gd name="T57" fmla="*/ 10160 h 16032"/>
                <a:gd name="T58" fmla="*/ 17255 w 18985"/>
                <a:gd name="T59" fmla="*/ 10063 h 16032"/>
                <a:gd name="T60" fmla="*/ 17639 w 18985"/>
                <a:gd name="T61" fmla="*/ 11422 h 16032"/>
                <a:gd name="T62" fmla="*/ 16681 w 18985"/>
                <a:gd name="T63" fmla="*/ 11801 h 16032"/>
                <a:gd name="T64" fmla="*/ 15457 w 18985"/>
                <a:gd name="T65" fmla="*/ 12613 h 16032"/>
                <a:gd name="T66" fmla="*/ 13923 w 18985"/>
                <a:gd name="T67" fmla="*/ 13479 h 16032"/>
                <a:gd name="T68" fmla="*/ 10358 w 18985"/>
                <a:gd name="T69" fmla="*/ 14925 h 16032"/>
                <a:gd name="T70" fmla="*/ 5950 w 18985"/>
                <a:gd name="T71" fmla="*/ 15195 h 16032"/>
                <a:gd name="T72" fmla="*/ 1631 w 18985"/>
                <a:gd name="T73" fmla="*/ 16032 h 16032"/>
                <a:gd name="T74" fmla="*/ 84 w 18985"/>
                <a:gd name="T75" fmla="*/ 15285 h 16032"/>
                <a:gd name="T76" fmla="*/ 459 w 18985"/>
                <a:gd name="T77" fmla="*/ 14701 h 16032"/>
                <a:gd name="T78" fmla="*/ 3655 w 18985"/>
                <a:gd name="T79" fmla="*/ 13984 h 16032"/>
                <a:gd name="T80" fmla="*/ 5948 w 18985"/>
                <a:gd name="T81" fmla="*/ 12414 h 16032"/>
                <a:gd name="T82" fmla="*/ 2671 w 18985"/>
                <a:gd name="T83" fmla="*/ 9247 h 16032"/>
                <a:gd name="T84" fmla="*/ 1675 w 18985"/>
                <a:gd name="T85" fmla="*/ 7234 h 16032"/>
                <a:gd name="T86" fmla="*/ 1083 w 18985"/>
                <a:gd name="T87" fmla="*/ 6501 h 16032"/>
                <a:gd name="T88" fmla="*/ 959 w 18985"/>
                <a:gd name="T89" fmla="*/ 5686 h 16032"/>
                <a:gd name="T90" fmla="*/ 1960 w 18985"/>
                <a:gd name="T91" fmla="*/ 5480 h 16032"/>
                <a:gd name="T92" fmla="*/ 810 w 18985"/>
                <a:gd name="T93" fmla="*/ 4550 h 16032"/>
                <a:gd name="T94" fmla="*/ 1806 w 18985"/>
                <a:gd name="T95" fmla="*/ 4549 h 16032"/>
                <a:gd name="T96" fmla="*/ 994 w 18985"/>
                <a:gd name="T97" fmla="*/ 3972 h 16032"/>
                <a:gd name="T98" fmla="*/ 783 w 18985"/>
                <a:gd name="T99" fmla="*/ 3156 h 16032"/>
                <a:gd name="T100" fmla="*/ 678 w 18985"/>
                <a:gd name="T101" fmla="*/ 2317 h 16032"/>
                <a:gd name="T102" fmla="*/ 1446 w 18985"/>
                <a:gd name="T103" fmla="*/ 2622 h 16032"/>
                <a:gd name="T104" fmla="*/ 758 w 18985"/>
                <a:gd name="T105" fmla="*/ 1324 h 16032"/>
                <a:gd name="T106" fmla="*/ 1162 w 18985"/>
                <a:gd name="T107" fmla="*/ 1222 h 16032"/>
                <a:gd name="T108" fmla="*/ 1537 w 18985"/>
                <a:gd name="T109" fmla="*/ 1467 h 16032"/>
                <a:gd name="T110" fmla="*/ 1058 w 18985"/>
                <a:gd name="T111" fmla="*/ 162 h 16032"/>
                <a:gd name="T112" fmla="*/ 1962 w 18985"/>
                <a:gd name="T113" fmla="*/ 1217 h 16032"/>
                <a:gd name="T114" fmla="*/ 1854 w 18985"/>
                <a:gd name="T115" fmla="*/ 714 h 160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8985" h="16032">
                  <a:moveTo>
                    <a:pt x="1735" y="185"/>
                  </a:moveTo>
                  <a:cubicBezTo>
                    <a:pt x="1736" y="112"/>
                    <a:pt x="1767" y="24"/>
                    <a:pt x="1844" y="0"/>
                  </a:cubicBezTo>
                  <a:cubicBezTo>
                    <a:pt x="1880" y="8"/>
                    <a:pt x="1906" y="36"/>
                    <a:pt x="1931" y="61"/>
                  </a:cubicBezTo>
                  <a:cubicBezTo>
                    <a:pt x="1998" y="134"/>
                    <a:pt x="2055" y="216"/>
                    <a:pt x="2111" y="298"/>
                  </a:cubicBezTo>
                  <a:cubicBezTo>
                    <a:pt x="2327" y="625"/>
                    <a:pt x="2518" y="967"/>
                    <a:pt x="2708" y="1310"/>
                  </a:cubicBezTo>
                  <a:cubicBezTo>
                    <a:pt x="2904" y="1670"/>
                    <a:pt x="3093" y="2033"/>
                    <a:pt x="3278" y="2399"/>
                  </a:cubicBezTo>
                  <a:cubicBezTo>
                    <a:pt x="3184" y="2162"/>
                    <a:pt x="3104" y="1920"/>
                    <a:pt x="3033" y="1675"/>
                  </a:cubicBezTo>
                  <a:cubicBezTo>
                    <a:pt x="2968" y="1446"/>
                    <a:pt x="2912" y="1215"/>
                    <a:pt x="2879" y="980"/>
                  </a:cubicBezTo>
                  <a:cubicBezTo>
                    <a:pt x="2862" y="836"/>
                    <a:pt x="2847" y="687"/>
                    <a:pt x="2879" y="544"/>
                  </a:cubicBezTo>
                  <a:cubicBezTo>
                    <a:pt x="2894" y="485"/>
                    <a:pt x="2920" y="423"/>
                    <a:pt x="2973" y="390"/>
                  </a:cubicBezTo>
                  <a:cubicBezTo>
                    <a:pt x="3017" y="360"/>
                    <a:pt x="3075" y="361"/>
                    <a:pt x="3125" y="371"/>
                  </a:cubicBezTo>
                  <a:cubicBezTo>
                    <a:pt x="3156" y="377"/>
                    <a:pt x="3172" y="407"/>
                    <a:pt x="3184" y="433"/>
                  </a:cubicBezTo>
                  <a:cubicBezTo>
                    <a:pt x="3216" y="504"/>
                    <a:pt x="3232" y="580"/>
                    <a:pt x="3248" y="655"/>
                  </a:cubicBezTo>
                  <a:cubicBezTo>
                    <a:pt x="3284" y="835"/>
                    <a:pt x="3305" y="1018"/>
                    <a:pt x="3332" y="1199"/>
                  </a:cubicBezTo>
                  <a:cubicBezTo>
                    <a:pt x="3340" y="1249"/>
                    <a:pt x="3348" y="1299"/>
                    <a:pt x="3362" y="1348"/>
                  </a:cubicBezTo>
                  <a:cubicBezTo>
                    <a:pt x="3493" y="1814"/>
                    <a:pt x="3668" y="2270"/>
                    <a:pt x="3894" y="2698"/>
                  </a:cubicBezTo>
                  <a:cubicBezTo>
                    <a:pt x="4049" y="2988"/>
                    <a:pt x="4226" y="3266"/>
                    <a:pt x="4435" y="3519"/>
                  </a:cubicBezTo>
                  <a:cubicBezTo>
                    <a:pt x="4718" y="3873"/>
                    <a:pt x="5071" y="4162"/>
                    <a:pt x="5425" y="4442"/>
                  </a:cubicBezTo>
                  <a:cubicBezTo>
                    <a:pt x="5807" y="4742"/>
                    <a:pt x="6202" y="5027"/>
                    <a:pt x="6593" y="5315"/>
                  </a:cubicBezTo>
                  <a:cubicBezTo>
                    <a:pt x="7204" y="5762"/>
                    <a:pt x="7815" y="6211"/>
                    <a:pt x="8401" y="6691"/>
                  </a:cubicBezTo>
                  <a:cubicBezTo>
                    <a:pt x="8563" y="6825"/>
                    <a:pt x="8726" y="6957"/>
                    <a:pt x="8877" y="7103"/>
                  </a:cubicBezTo>
                  <a:cubicBezTo>
                    <a:pt x="9339" y="7548"/>
                    <a:pt x="9748" y="8042"/>
                    <a:pt x="10155" y="8536"/>
                  </a:cubicBezTo>
                  <a:cubicBezTo>
                    <a:pt x="10356" y="8780"/>
                    <a:pt x="10553" y="9026"/>
                    <a:pt x="10754" y="9269"/>
                  </a:cubicBezTo>
                  <a:cubicBezTo>
                    <a:pt x="10931" y="8824"/>
                    <a:pt x="11156" y="8400"/>
                    <a:pt x="11363" y="7969"/>
                  </a:cubicBezTo>
                  <a:cubicBezTo>
                    <a:pt x="11570" y="7518"/>
                    <a:pt x="11753" y="7053"/>
                    <a:pt x="12010" y="6628"/>
                  </a:cubicBezTo>
                  <a:cubicBezTo>
                    <a:pt x="12102" y="6482"/>
                    <a:pt x="12199" y="6337"/>
                    <a:pt x="12332" y="6226"/>
                  </a:cubicBezTo>
                  <a:cubicBezTo>
                    <a:pt x="12412" y="6160"/>
                    <a:pt x="12515" y="6111"/>
                    <a:pt x="12621" y="6125"/>
                  </a:cubicBezTo>
                  <a:cubicBezTo>
                    <a:pt x="12709" y="6138"/>
                    <a:pt x="12765" y="6216"/>
                    <a:pt x="12801" y="6292"/>
                  </a:cubicBezTo>
                  <a:cubicBezTo>
                    <a:pt x="12844" y="6374"/>
                    <a:pt x="12863" y="6473"/>
                    <a:pt x="12933" y="6540"/>
                  </a:cubicBezTo>
                  <a:cubicBezTo>
                    <a:pt x="12936" y="6437"/>
                    <a:pt x="12908" y="6338"/>
                    <a:pt x="12889" y="6238"/>
                  </a:cubicBezTo>
                  <a:cubicBezTo>
                    <a:pt x="12817" y="5893"/>
                    <a:pt x="12748" y="5539"/>
                    <a:pt x="12795" y="5186"/>
                  </a:cubicBezTo>
                  <a:cubicBezTo>
                    <a:pt x="12824" y="4970"/>
                    <a:pt x="12912" y="4754"/>
                    <a:pt x="13080" y="4609"/>
                  </a:cubicBezTo>
                  <a:cubicBezTo>
                    <a:pt x="13126" y="4570"/>
                    <a:pt x="13178" y="4516"/>
                    <a:pt x="13244" y="4536"/>
                  </a:cubicBezTo>
                  <a:cubicBezTo>
                    <a:pt x="13351" y="4564"/>
                    <a:pt x="13434" y="4644"/>
                    <a:pt x="13511" y="4719"/>
                  </a:cubicBezTo>
                  <a:cubicBezTo>
                    <a:pt x="13659" y="4875"/>
                    <a:pt x="13790" y="5050"/>
                    <a:pt x="13877" y="5248"/>
                  </a:cubicBezTo>
                  <a:cubicBezTo>
                    <a:pt x="13815" y="4971"/>
                    <a:pt x="13760" y="4693"/>
                    <a:pt x="13727" y="4412"/>
                  </a:cubicBezTo>
                  <a:cubicBezTo>
                    <a:pt x="13704" y="4191"/>
                    <a:pt x="13690" y="3967"/>
                    <a:pt x="13731" y="3747"/>
                  </a:cubicBezTo>
                  <a:cubicBezTo>
                    <a:pt x="13753" y="3630"/>
                    <a:pt x="13795" y="3511"/>
                    <a:pt x="13882" y="3426"/>
                  </a:cubicBezTo>
                  <a:cubicBezTo>
                    <a:pt x="13947" y="3363"/>
                    <a:pt x="14041" y="3322"/>
                    <a:pt x="14132" y="3338"/>
                  </a:cubicBezTo>
                  <a:cubicBezTo>
                    <a:pt x="14206" y="3350"/>
                    <a:pt x="14272" y="3390"/>
                    <a:pt x="14326" y="3441"/>
                  </a:cubicBezTo>
                  <a:cubicBezTo>
                    <a:pt x="14424" y="3529"/>
                    <a:pt x="14498" y="3640"/>
                    <a:pt x="14566" y="3752"/>
                  </a:cubicBezTo>
                  <a:cubicBezTo>
                    <a:pt x="14627" y="3855"/>
                    <a:pt x="14686" y="3960"/>
                    <a:pt x="14734" y="4070"/>
                  </a:cubicBezTo>
                  <a:cubicBezTo>
                    <a:pt x="14738" y="4068"/>
                    <a:pt x="14745" y="4066"/>
                    <a:pt x="14749" y="4065"/>
                  </a:cubicBezTo>
                  <a:lnTo>
                    <a:pt x="14731" y="4053"/>
                  </a:lnTo>
                  <a:cubicBezTo>
                    <a:pt x="14707" y="3957"/>
                    <a:pt x="14667" y="3865"/>
                    <a:pt x="14639" y="3769"/>
                  </a:cubicBezTo>
                  <a:cubicBezTo>
                    <a:pt x="14586" y="3609"/>
                    <a:pt x="14538" y="3446"/>
                    <a:pt x="14505" y="3280"/>
                  </a:cubicBezTo>
                  <a:cubicBezTo>
                    <a:pt x="14476" y="3139"/>
                    <a:pt x="14462" y="2997"/>
                    <a:pt x="14442" y="2855"/>
                  </a:cubicBezTo>
                  <a:cubicBezTo>
                    <a:pt x="14424" y="2696"/>
                    <a:pt x="14412" y="2531"/>
                    <a:pt x="14456" y="2375"/>
                  </a:cubicBezTo>
                  <a:cubicBezTo>
                    <a:pt x="14481" y="2283"/>
                    <a:pt x="14534" y="2197"/>
                    <a:pt x="14612" y="2141"/>
                  </a:cubicBezTo>
                  <a:cubicBezTo>
                    <a:pt x="14693" y="2080"/>
                    <a:pt x="14788" y="2018"/>
                    <a:pt x="14894" y="2034"/>
                  </a:cubicBezTo>
                  <a:cubicBezTo>
                    <a:pt x="14991" y="2052"/>
                    <a:pt x="15052" y="2139"/>
                    <a:pt x="15097" y="2220"/>
                  </a:cubicBezTo>
                  <a:cubicBezTo>
                    <a:pt x="15196" y="2407"/>
                    <a:pt x="15256" y="2612"/>
                    <a:pt x="15337" y="2807"/>
                  </a:cubicBezTo>
                  <a:cubicBezTo>
                    <a:pt x="15398" y="2957"/>
                    <a:pt x="15462" y="3106"/>
                    <a:pt x="15552" y="3241"/>
                  </a:cubicBezTo>
                  <a:cubicBezTo>
                    <a:pt x="15497" y="2948"/>
                    <a:pt x="15423" y="2658"/>
                    <a:pt x="15389" y="2361"/>
                  </a:cubicBezTo>
                  <a:cubicBezTo>
                    <a:pt x="15362" y="2091"/>
                    <a:pt x="15355" y="1815"/>
                    <a:pt x="15415" y="1549"/>
                  </a:cubicBezTo>
                  <a:cubicBezTo>
                    <a:pt x="15444" y="1421"/>
                    <a:pt x="15490" y="1293"/>
                    <a:pt x="15571" y="1188"/>
                  </a:cubicBezTo>
                  <a:cubicBezTo>
                    <a:pt x="15646" y="1093"/>
                    <a:pt x="15753" y="1019"/>
                    <a:pt x="15874" y="998"/>
                  </a:cubicBezTo>
                  <a:cubicBezTo>
                    <a:pt x="15950" y="984"/>
                    <a:pt x="16028" y="1021"/>
                    <a:pt x="16078" y="1078"/>
                  </a:cubicBezTo>
                  <a:cubicBezTo>
                    <a:pt x="16144" y="1153"/>
                    <a:pt x="16182" y="1248"/>
                    <a:pt x="16211" y="1342"/>
                  </a:cubicBezTo>
                  <a:cubicBezTo>
                    <a:pt x="16295" y="1629"/>
                    <a:pt x="16317" y="1929"/>
                    <a:pt x="16351" y="2225"/>
                  </a:cubicBezTo>
                  <a:cubicBezTo>
                    <a:pt x="16374" y="2402"/>
                    <a:pt x="16385" y="2582"/>
                    <a:pt x="16442" y="2752"/>
                  </a:cubicBezTo>
                  <a:cubicBezTo>
                    <a:pt x="16519" y="2433"/>
                    <a:pt x="16512" y="2101"/>
                    <a:pt x="16516" y="1774"/>
                  </a:cubicBezTo>
                  <a:cubicBezTo>
                    <a:pt x="16520" y="1510"/>
                    <a:pt x="16525" y="1240"/>
                    <a:pt x="16608" y="987"/>
                  </a:cubicBezTo>
                  <a:cubicBezTo>
                    <a:pt x="16681" y="755"/>
                    <a:pt x="16742" y="513"/>
                    <a:pt x="16879" y="309"/>
                  </a:cubicBezTo>
                  <a:cubicBezTo>
                    <a:pt x="16953" y="199"/>
                    <a:pt x="17063" y="107"/>
                    <a:pt x="17196" y="82"/>
                  </a:cubicBezTo>
                  <a:cubicBezTo>
                    <a:pt x="17287" y="68"/>
                    <a:pt x="17396" y="70"/>
                    <a:pt x="17465" y="141"/>
                  </a:cubicBezTo>
                  <a:cubicBezTo>
                    <a:pt x="17546" y="225"/>
                    <a:pt x="17554" y="351"/>
                    <a:pt x="17540" y="461"/>
                  </a:cubicBezTo>
                  <a:cubicBezTo>
                    <a:pt x="17507" y="743"/>
                    <a:pt x="17492" y="1027"/>
                    <a:pt x="17497" y="1312"/>
                  </a:cubicBezTo>
                  <a:cubicBezTo>
                    <a:pt x="17493" y="1484"/>
                    <a:pt x="17517" y="1654"/>
                    <a:pt x="17536" y="1825"/>
                  </a:cubicBezTo>
                  <a:cubicBezTo>
                    <a:pt x="17577" y="2203"/>
                    <a:pt x="17630" y="2581"/>
                    <a:pt x="17631" y="2962"/>
                  </a:cubicBezTo>
                  <a:cubicBezTo>
                    <a:pt x="17717" y="2402"/>
                    <a:pt x="17810" y="1842"/>
                    <a:pt x="17936" y="1290"/>
                  </a:cubicBezTo>
                  <a:cubicBezTo>
                    <a:pt x="17976" y="1089"/>
                    <a:pt x="18087" y="912"/>
                    <a:pt x="18215" y="756"/>
                  </a:cubicBezTo>
                  <a:cubicBezTo>
                    <a:pt x="18289" y="672"/>
                    <a:pt x="18370" y="588"/>
                    <a:pt x="18473" y="540"/>
                  </a:cubicBezTo>
                  <a:cubicBezTo>
                    <a:pt x="18531" y="514"/>
                    <a:pt x="18605" y="506"/>
                    <a:pt x="18658" y="548"/>
                  </a:cubicBezTo>
                  <a:cubicBezTo>
                    <a:pt x="18728" y="604"/>
                    <a:pt x="18753" y="696"/>
                    <a:pt x="18774" y="779"/>
                  </a:cubicBezTo>
                  <a:cubicBezTo>
                    <a:pt x="18845" y="1089"/>
                    <a:pt x="18838" y="1409"/>
                    <a:pt x="18876" y="1724"/>
                  </a:cubicBezTo>
                  <a:cubicBezTo>
                    <a:pt x="18894" y="1882"/>
                    <a:pt x="18918" y="2041"/>
                    <a:pt x="18931" y="2200"/>
                  </a:cubicBezTo>
                  <a:cubicBezTo>
                    <a:pt x="18985" y="2834"/>
                    <a:pt x="18920" y="3481"/>
                    <a:pt x="18724" y="4088"/>
                  </a:cubicBezTo>
                  <a:cubicBezTo>
                    <a:pt x="18596" y="4485"/>
                    <a:pt x="18412" y="4864"/>
                    <a:pt x="18181" y="5212"/>
                  </a:cubicBezTo>
                  <a:cubicBezTo>
                    <a:pt x="17901" y="5635"/>
                    <a:pt x="17574" y="6025"/>
                    <a:pt x="17234" y="6401"/>
                  </a:cubicBezTo>
                  <a:cubicBezTo>
                    <a:pt x="16608" y="7095"/>
                    <a:pt x="15931" y="7740"/>
                    <a:pt x="15294" y="8425"/>
                  </a:cubicBezTo>
                  <a:cubicBezTo>
                    <a:pt x="15156" y="8575"/>
                    <a:pt x="15022" y="8728"/>
                    <a:pt x="14893" y="8886"/>
                  </a:cubicBezTo>
                  <a:cubicBezTo>
                    <a:pt x="14717" y="9102"/>
                    <a:pt x="14533" y="9311"/>
                    <a:pt x="14360" y="9529"/>
                  </a:cubicBezTo>
                  <a:cubicBezTo>
                    <a:pt x="14251" y="9667"/>
                    <a:pt x="14145" y="9814"/>
                    <a:pt x="14089" y="9983"/>
                  </a:cubicBezTo>
                  <a:cubicBezTo>
                    <a:pt x="14043" y="10122"/>
                    <a:pt x="14034" y="10271"/>
                    <a:pt x="14045" y="10416"/>
                  </a:cubicBezTo>
                  <a:cubicBezTo>
                    <a:pt x="14343" y="10396"/>
                    <a:pt x="14642" y="10375"/>
                    <a:pt x="14933" y="10306"/>
                  </a:cubicBezTo>
                  <a:cubicBezTo>
                    <a:pt x="15059" y="10275"/>
                    <a:pt x="15187" y="10236"/>
                    <a:pt x="15295" y="10160"/>
                  </a:cubicBezTo>
                  <a:cubicBezTo>
                    <a:pt x="15495" y="10019"/>
                    <a:pt x="15715" y="9898"/>
                    <a:pt x="15955" y="9840"/>
                  </a:cubicBezTo>
                  <a:cubicBezTo>
                    <a:pt x="16226" y="9773"/>
                    <a:pt x="16513" y="9795"/>
                    <a:pt x="16782" y="9864"/>
                  </a:cubicBezTo>
                  <a:cubicBezTo>
                    <a:pt x="16947" y="9908"/>
                    <a:pt x="17120" y="9952"/>
                    <a:pt x="17255" y="10063"/>
                  </a:cubicBezTo>
                  <a:cubicBezTo>
                    <a:pt x="17429" y="10200"/>
                    <a:pt x="17541" y="10402"/>
                    <a:pt x="17605" y="10611"/>
                  </a:cubicBezTo>
                  <a:cubicBezTo>
                    <a:pt x="17665" y="10809"/>
                    <a:pt x="17689" y="11017"/>
                    <a:pt x="17677" y="11224"/>
                  </a:cubicBezTo>
                  <a:cubicBezTo>
                    <a:pt x="17675" y="11292"/>
                    <a:pt x="17655" y="11357"/>
                    <a:pt x="17639" y="11422"/>
                  </a:cubicBezTo>
                  <a:cubicBezTo>
                    <a:pt x="17741" y="11741"/>
                    <a:pt x="17775" y="12083"/>
                    <a:pt x="17719" y="12413"/>
                  </a:cubicBezTo>
                  <a:cubicBezTo>
                    <a:pt x="17550" y="12244"/>
                    <a:pt x="17381" y="12073"/>
                    <a:pt x="17187" y="11932"/>
                  </a:cubicBezTo>
                  <a:cubicBezTo>
                    <a:pt x="17039" y="11832"/>
                    <a:pt x="16856" y="11799"/>
                    <a:pt x="16681" y="11801"/>
                  </a:cubicBezTo>
                  <a:cubicBezTo>
                    <a:pt x="16661" y="11799"/>
                    <a:pt x="16642" y="11807"/>
                    <a:pt x="16626" y="11817"/>
                  </a:cubicBezTo>
                  <a:cubicBezTo>
                    <a:pt x="16389" y="11960"/>
                    <a:pt x="16157" y="12112"/>
                    <a:pt x="15931" y="12273"/>
                  </a:cubicBezTo>
                  <a:cubicBezTo>
                    <a:pt x="15771" y="12382"/>
                    <a:pt x="15619" y="12505"/>
                    <a:pt x="15457" y="12613"/>
                  </a:cubicBezTo>
                  <a:cubicBezTo>
                    <a:pt x="15271" y="12737"/>
                    <a:pt x="15068" y="12833"/>
                    <a:pt x="14861" y="12917"/>
                  </a:cubicBezTo>
                  <a:cubicBezTo>
                    <a:pt x="14644" y="13008"/>
                    <a:pt x="14427" y="13104"/>
                    <a:pt x="14232" y="13238"/>
                  </a:cubicBezTo>
                  <a:cubicBezTo>
                    <a:pt x="14123" y="13310"/>
                    <a:pt x="14023" y="13394"/>
                    <a:pt x="13923" y="13479"/>
                  </a:cubicBezTo>
                  <a:cubicBezTo>
                    <a:pt x="13727" y="13639"/>
                    <a:pt x="13507" y="13769"/>
                    <a:pt x="13286" y="13892"/>
                  </a:cubicBezTo>
                  <a:cubicBezTo>
                    <a:pt x="12855" y="14130"/>
                    <a:pt x="12403" y="14330"/>
                    <a:pt x="11943" y="14506"/>
                  </a:cubicBezTo>
                  <a:cubicBezTo>
                    <a:pt x="11430" y="14696"/>
                    <a:pt x="10903" y="14863"/>
                    <a:pt x="10358" y="14925"/>
                  </a:cubicBezTo>
                  <a:cubicBezTo>
                    <a:pt x="10137" y="14948"/>
                    <a:pt x="9915" y="14933"/>
                    <a:pt x="9694" y="14935"/>
                  </a:cubicBezTo>
                  <a:cubicBezTo>
                    <a:pt x="9061" y="14930"/>
                    <a:pt x="8427" y="14921"/>
                    <a:pt x="7794" y="14953"/>
                  </a:cubicBezTo>
                  <a:cubicBezTo>
                    <a:pt x="7175" y="14982"/>
                    <a:pt x="6554" y="15046"/>
                    <a:pt x="5950" y="15195"/>
                  </a:cubicBezTo>
                  <a:cubicBezTo>
                    <a:pt x="5384" y="15331"/>
                    <a:pt x="4821" y="15480"/>
                    <a:pt x="4255" y="15615"/>
                  </a:cubicBezTo>
                  <a:cubicBezTo>
                    <a:pt x="3691" y="15750"/>
                    <a:pt x="3125" y="15876"/>
                    <a:pt x="2551" y="15958"/>
                  </a:cubicBezTo>
                  <a:cubicBezTo>
                    <a:pt x="2246" y="16000"/>
                    <a:pt x="1939" y="16032"/>
                    <a:pt x="1631" y="16032"/>
                  </a:cubicBezTo>
                  <a:cubicBezTo>
                    <a:pt x="1362" y="16029"/>
                    <a:pt x="1091" y="16019"/>
                    <a:pt x="830" y="15953"/>
                  </a:cubicBezTo>
                  <a:cubicBezTo>
                    <a:pt x="640" y="15905"/>
                    <a:pt x="454" y="15817"/>
                    <a:pt x="323" y="15668"/>
                  </a:cubicBezTo>
                  <a:cubicBezTo>
                    <a:pt x="221" y="15556"/>
                    <a:pt x="153" y="15419"/>
                    <a:pt x="84" y="15285"/>
                  </a:cubicBezTo>
                  <a:cubicBezTo>
                    <a:pt x="49" y="15214"/>
                    <a:pt x="0" y="15144"/>
                    <a:pt x="2" y="15062"/>
                  </a:cubicBezTo>
                  <a:cubicBezTo>
                    <a:pt x="4" y="14986"/>
                    <a:pt x="50" y="14921"/>
                    <a:pt x="107" y="14875"/>
                  </a:cubicBezTo>
                  <a:cubicBezTo>
                    <a:pt x="209" y="14791"/>
                    <a:pt x="335" y="14743"/>
                    <a:pt x="459" y="14701"/>
                  </a:cubicBezTo>
                  <a:cubicBezTo>
                    <a:pt x="724" y="14615"/>
                    <a:pt x="998" y="14565"/>
                    <a:pt x="1271" y="14518"/>
                  </a:cubicBezTo>
                  <a:cubicBezTo>
                    <a:pt x="1825" y="14421"/>
                    <a:pt x="2386" y="14358"/>
                    <a:pt x="2935" y="14227"/>
                  </a:cubicBezTo>
                  <a:cubicBezTo>
                    <a:pt x="3180" y="14163"/>
                    <a:pt x="3425" y="14091"/>
                    <a:pt x="3655" y="13984"/>
                  </a:cubicBezTo>
                  <a:cubicBezTo>
                    <a:pt x="3872" y="13884"/>
                    <a:pt x="4067" y="13743"/>
                    <a:pt x="4256" y="13599"/>
                  </a:cubicBezTo>
                  <a:cubicBezTo>
                    <a:pt x="4635" y="13312"/>
                    <a:pt x="5018" y="13030"/>
                    <a:pt x="5414" y="12767"/>
                  </a:cubicBezTo>
                  <a:cubicBezTo>
                    <a:pt x="5589" y="12646"/>
                    <a:pt x="5772" y="12535"/>
                    <a:pt x="5948" y="12414"/>
                  </a:cubicBezTo>
                  <a:cubicBezTo>
                    <a:pt x="5704" y="12296"/>
                    <a:pt x="5472" y="12156"/>
                    <a:pt x="5244" y="12011"/>
                  </a:cubicBezTo>
                  <a:cubicBezTo>
                    <a:pt x="4590" y="11588"/>
                    <a:pt x="3976" y="11095"/>
                    <a:pt x="3465" y="10506"/>
                  </a:cubicBezTo>
                  <a:cubicBezTo>
                    <a:pt x="3140" y="10129"/>
                    <a:pt x="2859" y="9709"/>
                    <a:pt x="2671" y="9247"/>
                  </a:cubicBezTo>
                  <a:cubicBezTo>
                    <a:pt x="2482" y="8783"/>
                    <a:pt x="2398" y="8274"/>
                    <a:pt x="2454" y="7775"/>
                  </a:cubicBezTo>
                  <a:cubicBezTo>
                    <a:pt x="2467" y="7651"/>
                    <a:pt x="2489" y="7528"/>
                    <a:pt x="2517" y="7407"/>
                  </a:cubicBezTo>
                  <a:cubicBezTo>
                    <a:pt x="2230" y="7388"/>
                    <a:pt x="1947" y="7328"/>
                    <a:pt x="1675" y="7234"/>
                  </a:cubicBezTo>
                  <a:cubicBezTo>
                    <a:pt x="1481" y="7163"/>
                    <a:pt x="1286" y="7078"/>
                    <a:pt x="1130" y="6938"/>
                  </a:cubicBezTo>
                  <a:cubicBezTo>
                    <a:pt x="1035" y="6852"/>
                    <a:pt x="954" y="6733"/>
                    <a:pt x="959" y="6600"/>
                  </a:cubicBezTo>
                  <a:cubicBezTo>
                    <a:pt x="976" y="6546"/>
                    <a:pt x="1036" y="6524"/>
                    <a:pt x="1083" y="6501"/>
                  </a:cubicBezTo>
                  <a:cubicBezTo>
                    <a:pt x="1300" y="6420"/>
                    <a:pt x="1534" y="6394"/>
                    <a:pt x="1764" y="6381"/>
                  </a:cubicBezTo>
                  <a:cubicBezTo>
                    <a:pt x="1556" y="6316"/>
                    <a:pt x="1353" y="6223"/>
                    <a:pt x="1183" y="6084"/>
                  </a:cubicBezTo>
                  <a:cubicBezTo>
                    <a:pt x="1064" y="5985"/>
                    <a:pt x="962" y="5847"/>
                    <a:pt x="959" y="5686"/>
                  </a:cubicBezTo>
                  <a:cubicBezTo>
                    <a:pt x="954" y="5620"/>
                    <a:pt x="971" y="5548"/>
                    <a:pt x="1024" y="5505"/>
                  </a:cubicBezTo>
                  <a:cubicBezTo>
                    <a:pt x="1092" y="5448"/>
                    <a:pt x="1184" y="5441"/>
                    <a:pt x="1268" y="5436"/>
                  </a:cubicBezTo>
                  <a:cubicBezTo>
                    <a:pt x="1500" y="5431"/>
                    <a:pt x="1729" y="5483"/>
                    <a:pt x="1960" y="5480"/>
                  </a:cubicBezTo>
                  <a:cubicBezTo>
                    <a:pt x="1740" y="5415"/>
                    <a:pt x="1546" y="5288"/>
                    <a:pt x="1360" y="5158"/>
                  </a:cubicBezTo>
                  <a:cubicBezTo>
                    <a:pt x="1206" y="5045"/>
                    <a:pt x="1055" y="4923"/>
                    <a:pt x="934" y="4774"/>
                  </a:cubicBezTo>
                  <a:cubicBezTo>
                    <a:pt x="880" y="4707"/>
                    <a:pt x="830" y="4634"/>
                    <a:pt x="810" y="4550"/>
                  </a:cubicBezTo>
                  <a:cubicBezTo>
                    <a:pt x="787" y="4465"/>
                    <a:pt x="834" y="4367"/>
                    <a:pt x="916" y="4334"/>
                  </a:cubicBezTo>
                  <a:cubicBezTo>
                    <a:pt x="981" y="4307"/>
                    <a:pt x="1054" y="4315"/>
                    <a:pt x="1121" y="4329"/>
                  </a:cubicBezTo>
                  <a:cubicBezTo>
                    <a:pt x="1356" y="4379"/>
                    <a:pt x="1571" y="4496"/>
                    <a:pt x="1806" y="4549"/>
                  </a:cubicBezTo>
                  <a:cubicBezTo>
                    <a:pt x="1855" y="4559"/>
                    <a:pt x="1906" y="4568"/>
                    <a:pt x="1957" y="4566"/>
                  </a:cubicBezTo>
                  <a:cubicBezTo>
                    <a:pt x="1782" y="4518"/>
                    <a:pt x="1622" y="4430"/>
                    <a:pt x="1469" y="4334"/>
                  </a:cubicBezTo>
                  <a:cubicBezTo>
                    <a:pt x="1301" y="4227"/>
                    <a:pt x="1141" y="4106"/>
                    <a:pt x="994" y="3972"/>
                  </a:cubicBezTo>
                  <a:cubicBezTo>
                    <a:pt x="897" y="3881"/>
                    <a:pt x="799" y="3786"/>
                    <a:pt x="740" y="3666"/>
                  </a:cubicBezTo>
                  <a:cubicBezTo>
                    <a:pt x="680" y="3546"/>
                    <a:pt x="627" y="3412"/>
                    <a:pt x="647" y="3276"/>
                  </a:cubicBezTo>
                  <a:cubicBezTo>
                    <a:pt x="655" y="3209"/>
                    <a:pt x="715" y="3157"/>
                    <a:pt x="783" y="3156"/>
                  </a:cubicBezTo>
                  <a:cubicBezTo>
                    <a:pt x="989" y="3149"/>
                    <a:pt x="1188" y="3210"/>
                    <a:pt x="1385" y="3259"/>
                  </a:cubicBezTo>
                  <a:cubicBezTo>
                    <a:pt x="1150" y="3162"/>
                    <a:pt x="924" y="3016"/>
                    <a:pt x="783" y="2799"/>
                  </a:cubicBezTo>
                  <a:cubicBezTo>
                    <a:pt x="692" y="2658"/>
                    <a:pt x="649" y="2484"/>
                    <a:pt x="678" y="2317"/>
                  </a:cubicBezTo>
                  <a:cubicBezTo>
                    <a:pt x="686" y="2269"/>
                    <a:pt x="716" y="2218"/>
                    <a:pt x="768" y="2210"/>
                  </a:cubicBezTo>
                  <a:cubicBezTo>
                    <a:pt x="841" y="2202"/>
                    <a:pt x="910" y="2237"/>
                    <a:pt x="971" y="2272"/>
                  </a:cubicBezTo>
                  <a:cubicBezTo>
                    <a:pt x="1142" y="2371"/>
                    <a:pt x="1287" y="2506"/>
                    <a:pt x="1446" y="2622"/>
                  </a:cubicBezTo>
                  <a:cubicBezTo>
                    <a:pt x="1469" y="2639"/>
                    <a:pt x="1494" y="2653"/>
                    <a:pt x="1520" y="2665"/>
                  </a:cubicBezTo>
                  <a:cubicBezTo>
                    <a:pt x="1280" y="2407"/>
                    <a:pt x="1047" y="2135"/>
                    <a:pt x="886" y="1819"/>
                  </a:cubicBezTo>
                  <a:cubicBezTo>
                    <a:pt x="810" y="1666"/>
                    <a:pt x="748" y="1498"/>
                    <a:pt x="758" y="1324"/>
                  </a:cubicBezTo>
                  <a:cubicBezTo>
                    <a:pt x="762" y="1234"/>
                    <a:pt x="790" y="1145"/>
                    <a:pt x="843" y="1072"/>
                  </a:cubicBezTo>
                  <a:cubicBezTo>
                    <a:pt x="863" y="1044"/>
                    <a:pt x="903" y="1051"/>
                    <a:pt x="930" y="1062"/>
                  </a:cubicBezTo>
                  <a:cubicBezTo>
                    <a:pt x="1018" y="1097"/>
                    <a:pt x="1090" y="1162"/>
                    <a:pt x="1162" y="1222"/>
                  </a:cubicBezTo>
                  <a:cubicBezTo>
                    <a:pt x="1305" y="1344"/>
                    <a:pt x="1436" y="1479"/>
                    <a:pt x="1572" y="1609"/>
                  </a:cubicBezTo>
                  <a:cubicBezTo>
                    <a:pt x="1624" y="1655"/>
                    <a:pt x="1671" y="1707"/>
                    <a:pt x="1731" y="1744"/>
                  </a:cubicBezTo>
                  <a:cubicBezTo>
                    <a:pt x="1658" y="1658"/>
                    <a:pt x="1599" y="1561"/>
                    <a:pt x="1537" y="1467"/>
                  </a:cubicBezTo>
                  <a:cubicBezTo>
                    <a:pt x="1387" y="1228"/>
                    <a:pt x="1247" y="982"/>
                    <a:pt x="1133" y="723"/>
                  </a:cubicBezTo>
                  <a:cubicBezTo>
                    <a:pt x="1082" y="603"/>
                    <a:pt x="1033" y="479"/>
                    <a:pt x="1015" y="348"/>
                  </a:cubicBezTo>
                  <a:cubicBezTo>
                    <a:pt x="1008" y="285"/>
                    <a:pt x="1008" y="209"/>
                    <a:pt x="1058" y="162"/>
                  </a:cubicBezTo>
                  <a:cubicBezTo>
                    <a:pt x="1092" y="133"/>
                    <a:pt x="1147" y="115"/>
                    <a:pt x="1186" y="145"/>
                  </a:cubicBezTo>
                  <a:cubicBezTo>
                    <a:pt x="1255" y="196"/>
                    <a:pt x="1308" y="265"/>
                    <a:pt x="1361" y="332"/>
                  </a:cubicBezTo>
                  <a:cubicBezTo>
                    <a:pt x="1578" y="615"/>
                    <a:pt x="1760" y="924"/>
                    <a:pt x="1962" y="1217"/>
                  </a:cubicBezTo>
                  <a:cubicBezTo>
                    <a:pt x="2086" y="1383"/>
                    <a:pt x="2191" y="1562"/>
                    <a:pt x="2318" y="1724"/>
                  </a:cubicBezTo>
                  <a:cubicBezTo>
                    <a:pt x="2355" y="1770"/>
                    <a:pt x="2392" y="1817"/>
                    <a:pt x="2439" y="1854"/>
                  </a:cubicBezTo>
                  <a:cubicBezTo>
                    <a:pt x="2212" y="1492"/>
                    <a:pt x="2010" y="1113"/>
                    <a:pt x="1854" y="714"/>
                  </a:cubicBezTo>
                  <a:cubicBezTo>
                    <a:pt x="1793" y="544"/>
                    <a:pt x="1730" y="369"/>
                    <a:pt x="1735" y="185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100" name="Firewall"/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1292772" y="3153449"/>
              <a:ext cx="542925" cy="542925"/>
              <a:chOff x="125" y="195"/>
              <a:chExt cx="105" cy="105"/>
            </a:xfrm>
            <a:solidFill>
              <a:schemeClr val="bg1"/>
            </a:solidFill>
          </p:grpSpPr>
          <p:sp>
            <p:nvSpPr>
              <p:cNvPr id="101" name="Firewall"/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125" y="195"/>
                <a:ext cx="56" cy="81"/>
              </a:xfrm>
              <a:custGeom>
                <a:avLst/>
                <a:gdLst>
                  <a:gd name="T0" fmla="*/ 1232 w 1232"/>
                  <a:gd name="T1" fmla="*/ 780 h 1774"/>
                  <a:gd name="T2" fmla="*/ 668 w 1232"/>
                  <a:gd name="T3" fmla="*/ 0 h 1774"/>
                  <a:gd name="T4" fmla="*/ 317 w 1232"/>
                  <a:gd name="T5" fmla="*/ 325 h 1774"/>
                  <a:gd name="T6" fmla="*/ 371 w 1232"/>
                  <a:gd name="T7" fmla="*/ 948 h 1774"/>
                  <a:gd name="T8" fmla="*/ 113 w 1232"/>
                  <a:gd name="T9" fmla="*/ 610 h 1774"/>
                  <a:gd name="T10" fmla="*/ 0 w 1232"/>
                  <a:gd name="T11" fmla="*/ 1115 h 1774"/>
                  <a:gd name="T12" fmla="*/ 557 w 1232"/>
                  <a:gd name="T13" fmla="*/ 1774 h 1774"/>
                  <a:gd name="T14" fmla="*/ 557 w 1232"/>
                  <a:gd name="T15" fmla="*/ 893 h 1774"/>
                  <a:gd name="T16" fmla="*/ 668 w 1232"/>
                  <a:gd name="T17" fmla="*/ 781 h 1774"/>
                  <a:gd name="T18" fmla="*/ 1232 w 1232"/>
                  <a:gd name="T19" fmla="*/ 781 h 1774"/>
                  <a:gd name="T20" fmla="*/ 1232 w 1232"/>
                  <a:gd name="T21" fmla="*/ 780 h 17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32" h="1774">
                    <a:moveTo>
                      <a:pt x="1232" y="780"/>
                    </a:moveTo>
                    <a:cubicBezTo>
                      <a:pt x="1066" y="561"/>
                      <a:pt x="782" y="695"/>
                      <a:pt x="668" y="0"/>
                    </a:cubicBezTo>
                    <a:cubicBezTo>
                      <a:pt x="499" y="94"/>
                      <a:pt x="401" y="185"/>
                      <a:pt x="317" y="325"/>
                    </a:cubicBezTo>
                    <a:cubicBezTo>
                      <a:pt x="298" y="476"/>
                      <a:pt x="235" y="678"/>
                      <a:pt x="371" y="948"/>
                    </a:cubicBezTo>
                    <a:cubicBezTo>
                      <a:pt x="212" y="838"/>
                      <a:pt x="183" y="780"/>
                      <a:pt x="113" y="610"/>
                    </a:cubicBezTo>
                    <a:cubicBezTo>
                      <a:pt x="26" y="778"/>
                      <a:pt x="0" y="939"/>
                      <a:pt x="0" y="1115"/>
                    </a:cubicBezTo>
                    <a:cubicBezTo>
                      <a:pt x="0" y="1446"/>
                      <a:pt x="241" y="1721"/>
                      <a:pt x="557" y="1774"/>
                    </a:cubicBezTo>
                    <a:lnTo>
                      <a:pt x="557" y="893"/>
                    </a:lnTo>
                    <a:cubicBezTo>
                      <a:pt x="557" y="831"/>
                      <a:pt x="607" y="781"/>
                      <a:pt x="668" y="781"/>
                    </a:cubicBezTo>
                    <a:lnTo>
                      <a:pt x="1232" y="781"/>
                    </a:lnTo>
                    <a:lnTo>
                      <a:pt x="1232" y="78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2" name="Firewall"/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155" y="236"/>
                <a:ext cx="35" cy="18"/>
              </a:xfrm>
              <a:custGeom>
                <a:avLst/>
                <a:gdLst>
                  <a:gd name="T0" fmla="*/ 50 w 764"/>
                  <a:gd name="T1" fmla="*/ 392 h 392"/>
                  <a:gd name="T2" fmla="*/ 714 w 764"/>
                  <a:gd name="T3" fmla="*/ 392 h 392"/>
                  <a:gd name="T4" fmla="*/ 764 w 764"/>
                  <a:gd name="T5" fmla="*/ 342 h 392"/>
                  <a:gd name="T6" fmla="*/ 764 w 764"/>
                  <a:gd name="T7" fmla="*/ 50 h 392"/>
                  <a:gd name="T8" fmla="*/ 714 w 764"/>
                  <a:gd name="T9" fmla="*/ 0 h 392"/>
                  <a:gd name="T10" fmla="*/ 50 w 764"/>
                  <a:gd name="T11" fmla="*/ 0 h 392"/>
                  <a:gd name="T12" fmla="*/ 0 w 764"/>
                  <a:gd name="T13" fmla="*/ 50 h 392"/>
                  <a:gd name="T14" fmla="*/ 0 w 764"/>
                  <a:gd name="T15" fmla="*/ 342 h 392"/>
                  <a:gd name="T16" fmla="*/ 50 w 764"/>
                  <a:gd name="T17" fmla="*/ 392 h 3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64" h="392">
                    <a:moveTo>
                      <a:pt x="50" y="392"/>
                    </a:moveTo>
                    <a:lnTo>
                      <a:pt x="714" y="392"/>
                    </a:lnTo>
                    <a:cubicBezTo>
                      <a:pt x="741" y="392"/>
                      <a:pt x="764" y="369"/>
                      <a:pt x="764" y="342"/>
                    </a:cubicBezTo>
                    <a:lnTo>
                      <a:pt x="764" y="50"/>
                    </a:lnTo>
                    <a:cubicBezTo>
                      <a:pt x="764" y="23"/>
                      <a:pt x="741" y="0"/>
                      <a:pt x="714" y="0"/>
                    </a:cubicBezTo>
                    <a:lnTo>
                      <a:pt x="50" y="0"/>
                    </a:lnTo>
                    <a:cubicBezTo>
                      <a:pt x="22" y="0"/>
                      <a:pt x="0" y="23"/>
                      <a:pt x="0" y="50"/>
                    </a:cubicBezTo>
                    <a:lnTo>
                      <a:pt x="0" y="342"/>
                    </a:lnTo>
                    <a:cubicBezTo>
                      <a:pt x="0" y="370"/>
                      <a:pt x="22" y="392"/>
                      <a:pt x="50" y="39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3" name="Firewall"/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195" y="236"/>
                <a:ext cx="35" cy="18"/>
              </a:xfrm>
              <a:custGeom>
                <a:avLst/>
                <a:gdLst>
                  <a:gd name="T0" fmla="*/ 714 w 764"/>
                  <a:gd name="T1" fmla="*/ 0 h 391"/>
                  <a:gd name="T2" fmla="*/ 50 w 764"/>
                  <a:gd name="T3" fmla="*/ 0 h 391"/>
                  <a:gd name="T4" fmla="*/ 0 w 764"/>
                  <a:gd name="T5" fmla="*/ 50 h 391"/>
                  <a:gd name="T6" fmla="*/ 0 w 764"/>
                  <a:gd name="T7" fmla="*/ 341 h 391"/>
                  <a:gd name="T8" fmla="*/ 50 w 764"/>
                  <a:gd name="T9" fmla="*/ 391 h 391"/>
                  <a:gd name="T10" fmla="*/ 714 w 764"/>
                  <a:gd name="T11" fmla="*/ 391 h 391"/>
                  <a:gd name="T12" fmla="*/ 764 w 764"/>
                  <a:gd name="T13" fmla="*/ 341 h 391"/>
                  <a:gd name="T14" fmla="*/ 764 w 764"/>
                  <a:gd name="T15" fmla="*/ 50 h 391"/>
                  <a:gd name="T16" fmla="*/ 714 w 764"/>
                  <a:gd name="T17" fmla="*/ 0 h 3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64" h="391">
                    <a:moveTo>
                      <a:pt x="714" y="0"/>
                    </a:moveTo>
                    <a:lnTo>
                      <a:pt x="50" y="0"/>
                    </a:lnTo>
                    <a:cubicBezTo>
                      <a:pt x="23" y="0"/>
                      <a:pt x="0" y="22"/>
                      <a:pt x="0" y="50"/>
                    </a:cubicBezTo>
                    <a:lnTo>
                      <a:pt x="0" y="341"/>
                    </a:lnTo>
                    <a:cubicBezTo>
                      <a:pt x="0" y="368"/>
                      <a:pt x="23" y="391"/>
                      <a:pt x="50" y="391"/>
                    </a:cubicBezTo>
                    <a:lnTo>
                      <a:pt x="714" y="391"/>
                    </a:lnTo>
                    <a:cubicBezTo>
                      <a:pt x="742" y="391"/>
                      <a:pt x="764" y="368"/>
                      <a:pt x="764" y="341"/>
                    </a:cubicBezTo>
                    <a:lnTo>
                      <a:pt x="764" y="50"/>
                    </a:lnTo>
                    <a:cubicBezTo>
                      <a:pt x="764" y="21"/>
                      <a:pt x="742" y="0"/>
                      <a:pt x="714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4" name="Firewall"/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155" y="283"/>
                <a:ext cx="35" cy="17"/>
              </a:xfrm>
              <a:custGeom>
                <a:avLst/>
                <a:gdLst>
                  <a:gd name="T0" fmla="*/ 714 w 764"/>
                  <a:gd name="T1" fmla="*/ 0 h 391"/>
                  <a:gd name="T2" fmla="*/ 50 w 764"/>
                  <a:gd name="T3" fmla="*/ 0 h 391"/>
                  <a:gd name="T4" fmla="*/ 0 w 764"/>
                  <a:gd name="T5" fmla="*/ 50 h 391"/>
                  <a:gd name="T6" fmla="*/ 0 w 764"/>
                  <a:gd name="T7" fmla="*/ 341 h 391"/>
                  <a:gd name="T8" fmla="*/ 50 w 764"/>
                  <a:gd name="T9" fmla="*/ 391 h 391"/>
                  <a:gd name="T10" fmla="*/ 714 w 764"/>
                  <a:gd name="T11" fmla="*/ 391 h 391"/>
                  <a:gd name="T12" fmla="*/ 764 w 764"/>
                  <a:gd name="T13" fmla="*/ 341 h 391"/>
                  <a:gd name="T14" fmla="*/ 764 w 764"/>
                  <a:gd name="T15" fmla="*/ 50 h 391"/>
                  <a:gd name="T16" fmla="*/ 714 w 764"/>
                  <a:gd name="T17" fmla="*/ 0 h 3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64" h="391">
                    <a:moveTo>
                      <a:pt x="714" y="0"/>
                    </a:moveTo>
                    <a:lnTo>
                      <a:pt x="50" y="0"/>
                    </a:lnTo>
                    <a:cubicBezTo>
                      <a:pt x="22" y="0"/>
                      <a:pt x="0" y="22"/>
                      <a:pt x="0" y="50"/>
                    </a:cubicBezTo>
                    <a:lnTo>
                      <a:pt x="0" y="341"/>
                    </a:lnTo>
                    <a:cubicBezTo>
                      <a:pt x="0" y="368"/>
                      <a:pt x="22" y="391"/>
                      <a:pt x="50" y="391"/>
                    </a:cubicBezTo>
                    <a:lnTo>
                      <a:pt x="714" y="391"/>
                    </a:lnTo>
                    <a:cubicBezTo>
                      <a:pt x="741" y="391"/>
                      <a:pt x="764" y="368"/>
                      <a:pt x="764" y="341"/>
                    </a:cubicBezTo>
                    <a:lnTo>
                      <a:pt x="764" y="50"/>
                    </a:lnTo>
                    <a:cubicBezTo>
                      <a:pt x="764" y="21"/>
                      <a:pt x="741" y="0"/>
                      <a:pt x="714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5" name="Firewall"/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195" y="283"/>
                <a:ext cx="35" cy="17"/>
              </a:xfrm>
              <a:custGeom>
                <a:avLst/>
                <a:gdLst>
                  <a:gd name="T0" fmla="*/ 714 w 764"/>
                  <a:gd name="T1" fmla="*/ 0 h 391"/>
                  <a:gd name="T2" fmla="*/ 50 w 764"/>
                  <a:gd name="T3" fmla="*/ 0 h 391"/>
                  <a:gd name="T4" fmla="*/ 0 w 764"/>
                  <a:gd name="T5" fmla="*/ 50 h 391"/>
                  <a:gd name="T6" fmla="*/ 0 w 764"/>
                  <a:gd name="T7" fmla="*/ 341 h 391"/>
                  <a:gd name="T8" fmla="*/ 50 w 764"/>
                  <a:gd name="T9" fmla="*/ 391 h 391"/>
                  <a:gd name="T10" fmla="*/ 714 w 764"/>
                  <a:gd name="T11" fmla="*/ 391 h 391"/>
                  <a:gd name="T12" fmla="*/ 764 w 764"/>
                  <a:gd name="T13" fmla="*/ 341 h 391"/>
                  <a:gd name="T14" fmla="*/ 764 w 764"/>
                  <a:gd name="T15" fmla="*/ 50 h 391"/>
                  <a:gd name="T16" fmla="*/ 714 w 764"/>
                  <a:gd name="T17" fmla="*/ 0 h 3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64" h="391">
                    <a:moveTo>
                      <a:pt x="714" y="0"/>
                    </a:moveTo>
                    <a:lnTo>
                      <a:pt x="50" y="0"/>
                    </a:lnTo>
                    <a:cubicBezTo>
                      <a:pt x="23" y="0"/>
                      <a:pt x="0" y="22"/>
                      <a:pt x="0" y="50"/>
                    </a:cubicBezTo>
                    <a:lnTo>
                      <a:pt x="0" y="341"/>
                    </a:lnTo>
                    <a:cubicBezTo>
                      <a:pt x="0" y="368"/>
                      <a:pt x="23" y="391"/>
                      <a:pt x="50" y="391"/>
                    </a:cubicBezTo>
                    <a:lnTo>
                      <a:pt x="714" y="391"/>
                    </a:lnTo>
                    <a:cubicBezTo>
                      <a:pt x="742" y="391"/>
                      <a:pt x="764" y="368"/>
                      <a:pt x="764" y="341"/>
                    </a:cubicBezTo>
                    <a:lnTo>
                      <a:pt x="764" y="50"/>
                    </a:lnTo>
                    <a:cubicBezTo>
                      <a:pt x="764" y="21"/>
                      <a:pt x="742" y="0"/>
                      <a:pt x="714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6" name="Firewall"/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175" y="259"/>
                <a:ext cx="35" cy="18"/>
              </a:xfrm>
              <a:custGeom>
                <a:avLst/>
                <a:gdLst>
                  <a:gd name="T0" fmla="*/ 0 w 764"/>
                  <a:gd name="T1" fmla="*/ 50 h 394"/>
                  <a:gd name="T2" fmla="*/ 0 w 764"/>
                  <a:gd name="T3" fmla="*/ 344 h 394"/>
                  <a:gd name="T4" fmla="*/ 50 w 764"/>
                  <a:gd name="T5" fmla="*/ 394 h 394"/>
                  <a:gd name="T6" fmla="*/ 714 w 764"/>
                  <a:gd name="T7" fmla="*/ 394 h 394"/>
                  <a:gd name="T8" fmla="*/ 764 w 764"/>
                  <a:gd name="T9" fmla="*/ 344 h 394"/>
                  <a:gd name="T10" fmla="*/ 764 w 764"/>
                  <a:gd name="T11" fmla="*/ 50 h 394"/>
                  <a:gd name="T12" fmla="*/ 714 w 764"/>
                  <a:gd name="T13" fmla="*/ 0 h 394"/>
                  <a:gd name="T14" fmla="*/ 50 w 764"/>
                  <a:gd name="T15" fmla="*/ 0 h 394"/>
                  <a:gd name="T16" fmla="*/ 0 w 764"/>
                  <a:gd name="T17" fmla="*/ 50 h 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64" h="394">
                    <a:moveTo>
                      <a:pt x="0" y="50"/>
                    </a:moveTo>
                    <a:lnTo>
                      <a:pt x="0" y="344"/>
                    </a:lnTo>
                    <a:cubicBezTo>
                      <a:pt x="0" y="371"/>
                      <a:pt x="23" y="394"/>
                      <a:pt x="50" y="394"/>
                    </a:cubicBezTo>
                    <a:lnTo>
                      <a:pt x="714" y="394"/>
                    </a:lnTo>
                    <a:cubicBezTo>
                      <a:pt x="742" y="394"/>
                      <a:pt x="764" y="371"/>
                      <a:pt x="764" y="344"/>
                    </a:cubicBezTo>
                    <a:lnTo>
                      <a:pt x="764" y="50"/>
                    </a:lnTo>
                    <a:cubicBezTo>
                      <a:pt x="764" y="22"/>
                      <a:pt x="742" y="0"/>
                      <a:pt x="714" y="0"/>
                    </a:cubicBezTo>
                    <a:lnTo>
                      <a:pt x="50" y="0"/>
                    </a:lnTo>
                    <a:cubicBezTo>
                      <a:pt x="23" y="0"/>
                      <a:pt x="0" y="22"/>
                      <a:pt x="0" y="5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7" name="Firewall"/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55" y="259"/>
                <a:ext cx="15" cy="18"/>
              </a:xfrm>
              <a:custGeom>
                <a:avLst/>
                <a:gdLst>
                  <a:gd name="T0" fmla="*/ 50 w 329"/>
                  <a:gd name="T1" fmla="*/ 393 h 393"/>
                  <a:gd name="T2" fmla="*/ 279 w 329"/>
                  <a:gd name="T3" fmla="*/ 393 h 393"/>
                  <a:gd name="T4" fmla="*/ 329 w 329"/>
                  <a:gd name="T5" fmla="*/ 343 h 393"/>
                  <a:gd name="T6" fmla="*/ 329 w 329"/>
                  <a:gd name="T7" fmla="*/ 50 h 393"/>
                  <a:gd name="T8" fmla="*/ 279 w 329"/>
                  <a:gd name="T9" fmla="*/ 0 h 393"/>
                  <a:gd name="T10" fmla="*/ 50 w 329"/>
                  <a:gd name="T11" fmla="*/ 0 h 393"/>
                  <a:gd name="T12" fmla="*/ 0 w 329"/>
                  <a:gd name="T13" fmla="*/ 50 h 393"/>
                  <a:gd name="T14" fmla="*/ 0 w 329"/>
                  <a:gd name="T15" fmla="*/ 343 h 393"/>
                  <a:gd name="T16" fmla="*/ 50 w 329"/>
                  <a:gd name="T17" fmla="*/ 393 h 3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29" h="393">
                    <a:moveTo>
                      <a:pt x="50" y="393"/>
                    </a:moveTo>
                    <a:lnTo>
                      <a:pt x="279" y="393"/>
                    </a:lnTo>
                    <a:cubicBezTo>
                      <a:pt x="306" y="393"/>
                      <a:pt x="329" y="371"/>
                      <a:pt x="329" y="343"/>
                    </a:cubicBezTo>
                    <a:lnTo>
                      <a:pt x="329" y="50"/>
                    </a:lnTo>
                    <a:cubicBezTo>
                      <a:pt x="329" y="22"/>
                      <a:pt x="306" y="0"/>
                      <a:pt x="279" y="0"/>
                    </a:cubicBezTo>
                    <a:lnTo>
                      <a:pt x="50" y="0"/>
                    </a:lnTo>
                    <a:cubicBezTo>
                      <a:pt x="22" y="0"/>
                      <a:pt x="0" y="22"/>
                      <a:pt x="0" y="50"/>
                    </a:cubicBezTo>
                    <a:lnTo>
                      <a:pt x="0" y="343"/>
                    </a:lnTo>
                    <a:cubicBezTo>
                      <a:pt x="0" y="371"/>
                      <a:pt x="22" y="393"/>
                      <a:pt x="50" y="393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8" name="Firewall"/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215" y="259"/>
                <a:ext cx="15" cy="18"/>
              </a:xfrm>
              <a:custGeom>
                <a:avLst/>
                <a:gdLst>
                  <a:gd name="T0" fmla="*/ 281 w 331"/>
                  <a:gd name="T1" fmla="*/ 0 h 394"/>
                  <a:gd name="T2" fmla="*/ 50 w 331"/>
                  <a:gd name="T3" fmla="*/ 0 h 394"/>
                  <a:gd name="T4" fmla="*/ 0 w 331"/>
                  <a:gd name="T5" fmla="*/ 50 h 394"/>
                  <a:gd name="T6" fmla="*/ 0 w 331"/>
                  <a:gd name="T7" fmla="*/ 344 h 394"/>
                  <a:gd name="T8" fmla="*/ 50 w 331"/>
                  <a:gd name="T9" fmla="*/ 394 h 394"/>
                  <a:gd name="T10" fmla="*/ 279 w 331"/>
                  <a:gd name="T11" fmla="*/ 394 h 394"/>
                  <a:gd name="T12" fmla="*/ 329 w 331"/>
                  <a:gd name="T13" fmla="*/ 344 h 394"/>
                  <a:gd name="T14" fmla="*/ 329 w 331"/>
                  <a:gd name="T15" fmla="*/ 50 h 394"/>
                  <a:gd name="T16" fmla="*/ 281 w 331"/>
                  <a:gd name="T17" fmla="*/ 0 h 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1" h="394">
                    <a:moveTo>
                      <a:pt x="281" y="0"/>
                    </a:moveTo>
                    <a:lnTo>
                      <a:pt x="50" y="0"/>
                    </a:lnTo>
                    <a:cubicBezTo>
                      <a:pt x="22" y="0"/>
                      <a:pt x="0" y="22"/>
                      <a:pt x="0" y="50"/>
                    </a:cubicBezTo>
                    <a:lnTo>
                      <a:pt x="0" y="344"/>
                    </a:lnTo>
                    <a:cubicBezTo>
                      <a:pt x="0" y="371"/>
                      <a:pt x="22" y="394"/>
                      <a:pt x="50" y="394"/>
                    </a:cubicBezTo>
                    <a:lnTo>
                      <a:pt x="279" y="394"/>
                    </a:lnTo>
                    <a:cubicBezTo>
                      <a:pt x="306" y="394"/>
                      <a:pt x="329" y="371"/>
                      <a:pt x="329" y="344"/>
                    </a:cubicBezTo>
                    <a:lnTo>
                      <a:pt x="329" y="50"/>
                    </a:lnTo>
                    <a:cubicBezTo>
                      <a:pt x="331" y="22"/>
                      <a:pt x="309" y="0"/>
                      <a:pt x="281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109" name="Javelin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2425307" y="5675096"/>
              <a:ext cx="565198" cy="542925"/>
              <a:chOff x="1554" y="0"/>
              <a:chExt cx="4593" cy="4412"/>
            </a:xfrm>
            <a:solidFill>
              <a:schemeClr val="bg1"/>
            </a:solidFill>
          </p:grpSpPr>
          <p:sp>
            <p:nvSpPr>
              <p:cNvPr id="110" name="Freeform 373"/>
              <p:cNvSpPr>
                <a:spLocks/>
              </p:cNvSpPr>
              <p:nvPr/>
            </p:nvSpPr>
            <p:spPr bwMode="auto">
              <a:xfrm>
                <a:off x="1554" y="0"/>
                <a:ext cx="2270" cy="3435"/>
              </a:xfrm>
              <a:custGeom>
                <a:avLst/>
                <a:gdLst>
                  <a:gd name="T0" fmla="*/ 0 w 2486"/>
                  <a:gd name="T1" fmla="*/ 3756 h 3756"/>
                  <a:gd name="T2" fmla="*/ 380 w 2486"/>
                  <a:gd name="T3" fmla="*/ 3248 h 3756"/>
                  <a:gd name="T4" fmla="*/ 2278 w 2486"/>
                  <a:gd name="T5" fmla="*/ 378 h 3756"/>
                  <a:gd name="T6" fmla="*/ 2486 w 2486"/>
                  <a:gd name="T7" fmla="*/ 0 h 3756"/>
                  <a:gd name="T8" fmla="*/ 0 w 2486"/>
                  <a:gd name="T9" fmla="*/ 3756 h 3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86" h="3756">
                    <a:moveTo>
                      <a:pt x="0" y="3756"/>
                    </a:moveTo>
                    <a:lnTo>
                      <a:pt x="380" y="3248"/>
                    </a:lnTo>
                    <a:cubicBezTo>
                      <a:pt x="1071" y="2325"/>
                      <a:pt x="1679" y="1363"/>
                      <a:pt x="2278" y="378"/>
                    </a:cubicBezTo>
                    <a:cubicBezTo>
                      <a:pt x="2353" y="255"/>
                      <a:pt x="2486" y="0"/>
                      <a:pt x="2486" y="0"/>
                    </a:cubicBezTo>
                    <a:lnTo>
                      <a:pt x="0" y="3756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1" name="Freeform 374"/>
              <p:cNvSpPr>
                <a:spLocks/>
              </p:cNvSpPr>
              <p:nvPr/>
            </p:nvSpPr>
            <p:spPr bwMode="auto">
              <a:xfrm>
                <a:off x="2535" y="750"/>
                <a:ext cx="3612" cy="3662"/>
              </a:xfrm>
              <a:custGeom>
                <a:avLst/>
                <a:gdLst>
                  <a:gd name="T0" fmla="*/ 34 w 3956"/>
                  <a:gd name="T1" fmla="*/ 1149 h 4004"/>
                  <a:gd name="T2" fmla="*/ 614 w 3956"/>
                  <a:gd name="T3" fmla="*/ 1212 h 4004"/>
                  <a:gd name="T4" fmla="*/ 1063 w 3956"/>
                  <a:gd name="T5" fmla="*/ 1026 h 4004"/>
                  <a:gd name="T6" fmla="*/ 1415 w 3956"/>
                  <a:gd name="T7" fmla="*/ 761 h 4004"/>
                  <a:gd name="T8" fmla="*/ 1203 w 3956"/>
                  <a:gd name="T9" fmla="*/ 239 h 4004"/>
                  <a:gd name="T10" fmla="*/ 1620 w 3956"/>
                  <a:gd name="T11" fmla="*/ 149 h 4004"/>
                  <a:gd name="T12" fmla="*/ 1859 w 3956"/>
                  <a:gd name="T13" fmla="*/ 536 h 4004"/>
                  <a:gd name="T14" fmla="*/ 2446 w 3956"/>
                  <a:gd name="T15" fmla="*/ 468 h 4004"/>
                  <a:gd name="T16" fmla="*/ 3058 w 3956"/>
                  <a:gd name="T17" fmla="*/ 603 h 4004"/>
                  <a:gd name="T18" fmla="*/ 3376 w 3956"/>
                  <a:gd name="T19" fmla="*/ 759 h 4004"/>
                  <a:gd name="T20" fmla="*/ 3345 w 3956"/>
                  <a:gd name="T21" fmla="*/ 793 h 4004"/>
                  <a:gd name="T22" fmla="*/ 3299 w 3956"/>
                  <a:gd name="T23" fmla="*/ 858 h 4004"/>
                  <a:gd name="T24" fmla="*/ 3221 w 3956"/>
                  <a:gd name="T25" fmla="*/ 892 h 4004"/>
                  <a:gd name="T26" fmla="*/ 3161 w 3956"/>
                  <a:gd name="T27" fmla="*/ 959 h 4004"/>
                  <a:gd name="T28" fmla="*/ 2653 w 3956"/>
                  <a:gd name="T29" fmla="*/ 693 h 4004"/>
                  <a:gd name="T30" fmla="*/ 2274 w 3956"/>
                  <a:gd name="T31" fmla="*/ 949 h 4004"/>
                  <a:gd name="T32" fmla="*/ 2453 w 3956"/>
                  <a:gd name="T33" fmla="*/ 1794 h 4004"/>
                  <a:gd name="T34" fmla="*/ 2864 w 3956"/>
                  <a:gd name="T35" fmla="*/ 2262 h 4004"/>
                  <a:gd name="T36" fmla="*/ 3505 w 3956"/>
                  <a:gd name="T37" fmla="*/ 3253 h 4004"/>
                  <a:gd name="T38" fmla="*/ 3884 w 3956"/>
                  <a:gd name="T39" fmla="*/ 3762 h 4004"/>
                  <a:gd name="T40" fmla="*/ 3473 w 3956"/>
                  <a:gd name="T41" fmla="*/ 3816 h 4004"/>
                  <a:gd name="T42" fmla="*/ 3224 w 3956"/>
                  <a:gd name="T43" fmla="*/ 3332 h 4004"/>
                  <a:gd name="T44" fmla="*/ 2874 w 3956"/>
                  <a:gd name="T45" fmla="*/ 2869 h 4004"/>
                  <a:gd name="T46" fmla="*/ 2302 w 3956"/>
                  <a:gd name="T47" fmla="*/ 2417 h 4004"/>
                  <a:gd name="T48" fmla="*/ 1719 w 3956"/>
                  <a:gd name="T49" fmla="*/ 2664 h 4004"/>
                  <a:gd name="T50" fmla="*/ 1098 w 3956"/>
                  <a:gd name="T51" fmla="*/ 3292 h 4004"/>
                  <a:gd name="T52" fmla="*/ 689 w 3956"/>
                  <a:gd name="T53" fmla="*/ 3756 h 4004"/>
                  <a:gd name="T54" fmla="*/ 183 w 3956"/>
                  <a:gd name="T55" fmla="*/ 3819 h 4004"/>
                  <a:gd name="T56" fmla="*/ 633 w 3956"/>
                  <a:gd name="T57" fmla="*/ 3448 h 4004"/>
                  <a:gd name="T58" fmla="*/ 876 w 3956"/>
                  <a:gd name="T59" fmla="*/ 3066 h 4004"/>
                  <a:gd name="T60" fmla="*/ 1187 w 3956"/>
                  <a:gd name="T61" fmla="*/ 2610 h 4004"/>
                  <a:gd name="T62" fmla="*/ 1549 w 3956"/>
                  <a:gd name="T63" fmla="*/ 2148 h 4004"/>
                  <a:gd name="T64" fmla="*/ 1491 w 3956"/>
                  <a:gd name="T65" fmla="*/ 1655 h 4004"/>
                  <a:gd name="T66" fmla="*/ 1202 w 3956"/>
                  <a:gd name="T67" fmla="*/ 1336 h 4004"/>
                  <a:gd name="T68" fmla="*/ 641 w 3956"/>
                  <a:gd name="T69" fmla="*/ 1552 h 4004"/>
                  <a:gd name="T70" fmla="*/ 118 w 3956"/>
                  <a:gd name="T71" fmla="*/ 1316 h 4004"/>
                  <a:gd name="T72" fmla="*/ 34 w 3956"/>
                  <a:gd name="T73" fmla="*/ 1149 h 40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956" h="4004">
                    <a:moveTo>
                      <a:pt x="34" y="1149"/>
                    </a:moveTo>
                    <a:cubicBezTo>
                      <a:pt x="204" y="952"/>
                      <a:pt x="436" y="1129"/>
                      <a:pt x="614" y="1212"/>
                    </a:cubicBezTo>
                    <a:cubicBezTo>
                      <a:pt x="782" y="1376"/>
                      <a:pt x="916" y="1108"/>
                      <a:pt x="1063" y="1026"/>
                    </a:cubicBezTo>
                    <a:cubicBezTo>
                      <a:pt x="1119" y="869"/>
                      <a:pt x="1432" y="908"/>
                      <a:pt x="1415" y="761"/>
                    </a:cubicBezTo>
                    <a:cubicBezTo>
                      <a:pt x="1270" y="630"/>
                      <a:pt x="1043" y="446"/>
                      <a:pt x="1203" y="239"/>
                    </a:cubicBezTo>
                    <a:cubicBezTo>
                      <a:pt x="1293" y="126"/>
                      <a:pt x="1511" y="0"/>
                      <a:pt x="1620" y="149"/>
                    </a:cubicBezTo>
                    <a:cubicBezTo>
                      <a:pt x="1719" y="268"/>
                      <a:pt x="1677" y="551"/>
                      <a:pt x="1859" y="536"/>
                    </a:cubicBezTo>
                    <a:cubicBezTo>
                      <a:pt x="2053" y="494"/>
                      <a:pt x="2251" y="497"/>
                      <a:pt x="2446" y="468"/>
                    </a:cubicBezTo>
                    <a:cubicBezTo>
                      <a:pt x="2657" y="410"/>
                      <a:pt x="2898" y="444"/>
                      <a:pt x="3058" y="603"/>
                    </a:cubicBezTo>
                    <a:cubicBezTo>
                      <a:pt x="3150" y="657"/>
                      <a:pt x="3409" y="703"/>
                      <a:pt x="3376" y="759"/>
                    </a:cubicBezTo>
                    <a:cubicBezTo>
                      <a:pt x="3347" y="807"/>
                      <a:pt x="3240" y="742"/>
                      <a:pt x="3345" y="793"/>
                    </a:cubicBezTo>
                    <a:cubicBezTo>
                      <a:pt x="3480" y="890"/>
                      <a:pt x="3284" y="837"/>
                      <a:pt x="3299" y="858"/>
                    </a:cubicBezTo>
                    <a:cubicBezTo>
                      <a:pt x="3369" y="960"/>
                      <a:pt x="3277" y="909"/>
                      <a:pt x="3221" y="892"/>
                    </a:cubicBezTo>
                    <a:cubicBezTo>
                      <a:pt x="3192" y="884"/>
                      <a:pt x="3310" y="1015"/>
                      <a:pt x="3161" y="959"/>
                    </a:cubicBezTo>
                    <a:cubicBezTo>
                      <a:pt x="2985" y="873"/>
                      <a:pt x="2892" y="609"/>
                      <a:pt x="2653" y="693"/>
                    </a:cubicBezTo>
                    <a:cubicBezTo>
                      <a:pt x="2500" y="760"/>
                      <a:pt x="2146" y="673"/>
                      <a:pt x="2274" y="949"/>
                    </a:cubicBezTo>
                    <a:cubicBezTo>
                      <a:pt x="2354" y="1226"/>
                      <a:pt x="2318" y="1533"/>
                      <a:pt x="2453" y="1794"/>
                    </a:cubicBezTo>
                    <a:cubicBezTo>
                      <a:pt x="2574" y="1991"/>
                      <a:pt x="2734" y="2072"/>
                      <a:pt x="2864" y="2262"/>
                    </a:cubicBezTo>
                    <a:cubicBezTo>
                      <a:pt x="3105" y="2572"/>
                      <a:pt x="3427" y="2849"/>
                      <a:pt x="3505" y="3253"/>
                    </a:cubicBezTo>
                    <a:cubicBezTo>
                      <a:pt x="3548" y="3470"/>
                      <a:pt x="3721" y="3629"/>
                      <a:pt x="3884" y="3762"/>
                    </a:cubicBezTo>
                    <a:cubicBezTo>
                      <a:pt x="3956" y="3986"/>
                      <a:pt x="3589" y="3848"/>
                      <a:pt x="3473" y="3816"/>
                    </a:cubicBezTo>
                    <a:cubicBezTo>
                      <a:pt x="3201" y="3797"/>
                      <a:pt x="3456" y="3427"/>
                      <a:pt x="3224" y="3332"/>
                    </a:cubicBezTo>
                    <a:cubicBezTo>
                      <a:pt x="3056" y="3215"/>
                      <a:pt x="3040" y="2979"/>
                      <a:pt x="2874" y="2869"/>
                    </a:cubicBezTo>
                    <a:cubicBezTo>
                      <a:pt x="2659" y="2704"/>
                      <a:pt x="2511" y="2590"/>
                      <a:pt x="2302" y="2417"/>
                    </a:cubicBezTo>
                    <a:cubicBezTo>
                      <a:pt x="2098" y="2268"/>
                      <a:pt x="1850" y="2520"/>
                      <a:pt x="1719" y="2664"/>
                    </a:cubicBezTo>
                    <a:cubicBezTo>
                      <a:pt x="1485" y="2844"/>
                      <a:pt x="1280" y="3060"/>
                      <a:pt x="1098" y="3292"/>
                    </a:cubicBezTo>
                    <a:cubicBezTo>
                      <a:pt x="936" y="3431"/>
                      <a:pt x="863" y="3638"/>
                      <a:pt x="689" y="3756"/>
                    </a:cubicBezTo>
                    <a:cubicBezTo>
                      <a:pt x="553" y="3809"/>
                      <a:pt x="245" y="4004"/>
                      <a:pt x="183" y="3819"/>
                    </a:cubicBezTo>
                    <a:cubicBezTo>
                      <a:pt x="277" y="3630"/>
                      <a:pt x="522" y="3618"/>
                      <a:pt x="633" y="3448"/>
                    </a:cubicBezTo>
                    <a:cubicBezTo>
                      <a:pt x="700" y="3309"/>
                      <a:pt x="767" y="3177"/>
                      <a:pt x="876" y="3066"/>
                    </a:cubicBezTo>
                    <a:cubicBezTo>
                      <a:pt x="978" y="2912"/>
                      <a:pt x="1121" y="2789"/>
                      <a:pt x="1187" y="2610"/>
                    </a:cubicBezTo>
                    <a:cubicBezTo>
                      <a:pt x="1257" y="2420"/>
                      <a:pt x="1407" y="2286"/>
                      <a:pt x="1549" y="2148"/>
                    </a:cubicBezTo>
                    <a:cubicBezTo>
                      <a:pt x="1683" y="1997"/>
                      <a:pt x="1576" y="1801"/>
                      <a:pt x="1491" y="1655"/>
                    </a:cubicBezTo>
                    <a:cubicBezTo>
                      <a:pt x="1408" y="1553"/>
                      <a:pt x="1373" y="1152"/>
                      <a:pt x="1202" y="1336"/>
                    </a:cubicBezTo>
                    <a:cubicBezTo>
                      <a:pt x="1062" y="1486"/>
                      <a:pt x="849" y="1587"/>
                      <a:pt x="641" y="1552"/>
                    </a:cubicBezTo>
                    <a:cubicBezTo>
                      <a:pt x="485" y="1420"/>
                      <a:pt x="355" y="1192"/>
                      <a:pt x="118" y="1316"/>
                    </a:cubicBezTo>
                    <a:cubicBezTo>
                      <a:pt x="29" y="1334"/>
                      <a:pt x="0" y="1210"/>
                      <a:pt x="34" y="1149"/>
                    </a:cubicBezTo>
                    <a:close/>
                  </a:path>
                </a:pathLst>
              </a:custGeom>
              <a:grpFill/>
              <a:ln w="1905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64" name="Group 15"/>
            <p:cNvGrpSpPr>
              <a:grpSpLocks noChangeAspect="1"/>
            </p:cNvGrpSpPr>
            <p:nvPr/>
          </p:nvGrpSpPr>
          <p:grpSpPr>
            <a:xfrm>
              <a:off x="878525" y="2896955"/>
              <a:ext cx="2041126" cy="2041126"/>
              <a:chOff x="601033" y="2855912"/>
              <a:chExt cx="2041126" cy="2041126"/>
            </a:xfrm>
          </p:grpSpPr>
          <p:sp>
            <p:nvSpPr>
              <p:cNvPr id="65" name="Circle: Hollow 151"/>
              <p:cNvSpPr>
                <a:spLocks noChangeAspect="1"/>
              </p:cNvSpPr>
              <p:nvPr/>
            </p:nvSpPr>
            <p:spPr>
              <a:xfrm>
                <a:off x="763241" y="3018120"/>
                <a:ext cx="1716710" cy="1716710"/>
              </a:xfrm>
              <a:prstGeom prst="donut">
                <a:avLst>
                  <a:gd name="adj" fmla="val 7139"/>
                </a:avLst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67" name="Group 152"/>
              <p:cNvGrpSpPr/>
              <p:nvPr/>
            </p:nvGrpSpPr>
            <p:grpSpPr>
              <a:xfrm>
                <a:off x="1534076" y="2855912"/>
                <a:ext cx="175040" cy="2041126"/>
                <a:chOff x="8229799" y="2768458"/>
                <a:chExt cx="175040" cy="2041126"/>
              </a:xfrm>
              <a:solidFill>
                <a:schemeClr val="tx2"/>
              </a:solidFill>
            </p:grpSpPr>
            <p:sp>
              <p:nvSpPr>
                <p:cNvPr id="128" name="Trapezoid 168"/>
                <p:cNvSpPr/>
                <p:nvPr/>
              </p:nvSpPr>
              <p:spPr>
                <a:xfrm>
                  <a:off x="8229799" y="2768458"/>
                  <a:ext cx="175040" cy="174908"/>
                </a:xfrm>
                <a:prstGeom prst="trapezoid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29" name="Trapezoid 169"/>
                <p:cNvSpPr/>
                <p:nvPr/>
              </p:nvSpPr>
              <p:spPr>
                <a:xfrm rot="10800000">
                  <a:off x="8229799" y="4634676"/>
                  <a:ext cx="175040" cy="174908"/>
                </a:xfrm>
                <a:prstGeom prst="trapezoid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12" name="Group 153"/>
              <p:cNvGrpSpPr/>
              <p:nvPr/>
            </p:nvGrpSpPr>
            <p:grpSpPr>
              <a:xfrm rot="5400000">
                <a:off x="1534076" y="2855912"/>
                <a:ext cx="175040" cy="2041126"/>
                <a:chOff x="8229799" y="2768458"/>
                <a:chExt cx="175040" cy="2041126"/>
              </a:xfrm>
              <a:solidFill>
                <a:schemeClr val="tx2"/>
              </a:solidFill>
            </p:grpSpPr>
            <p:sp>
              <p:nvSpPr>
                <p:cNvPr id="126" name="Trapezoid 166"/>
                <p:cNvSpPr/>
                <p:nvPr/>
              </p:nvSpPr>
              <p:spPr>
                <a:xfrm>
                  <a:off x="8229799" y="2768458"/>
                  <a:ext cx="175040" cy="174908"/>
                </a:xfrm>
                <a:prstGeom prst="trapezoid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27" name="Trapezoid 167"/>
                <p:cNvSpPr/>
                <p:nvPr/>
              </p:nvSpPr>
              <p:spPr>
                <a:xfrm rot="10800000">
                  <a:off x="8229799" y="4634676"/>
                  <a:ext cx="175040" cy="174908"/>
                </a:xfrm>
                <a:prstGeom prst="trapezoid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13" name="Group 154"/>
              <p:cNvGrpSpPr/>
              <p:nvPr/>
            </p:nvGrpSpPr>
            <p:grpSpPr>
              <a:xfrm rot="1800000">
                <a:off x="1534076" y="2855912"/>
                <a:ext cx="175040" cy="2041126"/>
                <a:chOff x="8229799" y="2768458"/>
                <a:chExt cx="175040" cy="2041126"/>
              </a:xfrm>
              <a:solidFill>
                <a:schemeClr val="tx2"/>
              </a:solidFill>
            </p:grpSpPr>
            <p:sp>
              <p:nvSpPr>
                <p:cNvPr id="124" name="Trapezoid 164"/>
                <p:cNvSpPr/>
                <p:nvPr/>
              </p:nvSpPr>
              <p:spPr>
                <a:xfrm>
                  <a:off x="8229799" y="2768458"/>
                  <a:ext cx="175040" cy="174908"/>
                </a:xfrm>
                <a:prstGeom prst="trapezoid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25" name="Trapezoid 165"/>
                <p:cNvSpPr/>
                <p:nvPr/>
              </p:nvSpPr>
              <p:spPr>
                <a:xfrm rot="10800000">
                  <a:off x="8229799" y="4634676"/>
                  <a:ext cx="175040" cy="174908"/>
                </a:xfrm>
                <a:prstGeom prst="trapezoid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14" name="Group 155"/>
              <p:cNvGrpSpPr/>
              <p:nvPr/>
            </p:nvGrpSpPr>
            <p:grpSpPr>
              <a:xfrm rot="3600000">
                <a:off x="1534076" y="2855912"/>
                <a:ext cx="175040" cy="2041126"/>
                <a:chOff x="8229799" y="2768458"/>
                <a:chExt cx="175040" cy="2041126"/>
              </a:xfrm>
              <a:solidFill>
                <a:schemeClr val="tx2"/>
              </a:solidFill>
            </p:grpSpPr>
            <p:sp>
              <p:nvSpPr>
                <p:cNvPr id="122" name="Trapezoid 162"/>
                <p:cNvSpPr/>
                <p:nvPr/>
              </p:nvSpPr>
              <p:spPr>
                <a:xfrm>
                  <a:off x="8229799" y="2768458"/>
                  <a:ext cx="175040" cy="174908"/>
                </a:xfrm>
                <a:prstGeom prst="trapezoid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23" name="Trapezoid 163"/>
                <p:cNvSpPr/>
                <p:nvPr/>
              </p:nvSpPr>
              <p:spPr>
                <a:xfrm rot="10800000">
                  <a:off x="8229799" y="4634676"/>
                  <a:ext cx="175040" cy="174908"/>
                </a:xfrm>
                <a:prstGeom prst="trapezoid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15" name="Group 156"/>
              <p:cNvGrpSpPr/>
              <p:nvPr/>
            </p:nvGrpSpPr>
            <p:grpSpPr>
              <a:xfrm rot="7200000">
                <a:off x="1534076" y="2855912"/>
                <a:ext cx="175040" cy="2041126"/>
                <a:chOff x="8229799" y="2768458"/>
                <a:chExt cx="175040" cy="2041126"/>
              </a:xfrm>
              <a:solidFill>
                <a:schemeClr val="tx2"/>
              </a:solidFill>
            </p:grpSpPr>
            <p:sp>
              <p:nvSpPr>
                <p:cNvPr id="120" name="Trapezoid 160"/>
                <p:cNvSpPr/>
                <p:nvPr/>
              </p:nvSpPr>
              <p:spPr>
                <a:xfrm>
                  <a:off x="8229799" y="2768458"/>
                  <a:ext cx="175040" cy="174908"/>
                </a:xfrm>
                <a:prstGeom prst="trapezoid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21" name="Trapezoid 161"/>
                <p:cNvSpPr/>
                <p:nvPr/>
              </p:nvSpPr>
              <p:spPr>
                <a:xfrm rot="10800000">
                  <a:off x="8229799" y="4634676"/>
                  <a:ext cx="175040" cy="174908"/>
                </a:xfrm>
                <a:prstGeom prst="trapezoid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16" name="Group 157"/>
              <p:cNvGrpSpPr/>
              <p:nvPr/>
            </p:nvGrpSpPr>
            <p:grpSpPr>
              <a:xfrm rot="9000000">
                <a:off x="1534076" y="2855912"/>
                <a:ext cx="175040" cy="2041126"/>
                <a:chOff x="8229799" y="2768458"/>
                <a:chExt cx="175040" cy="2041126"/>
              </a:xfrm>
              <a:solidFill>
                <a:schemeClr val="tx2"/>
              </a:solidFill>
            </p:grpSpPr>
            <p:sp>
              <p:nvSpPr>
                <p:cNvPr id="118" name="Trapezoid 158"/>
                <p:cNvSpPr/>
                <p:nvPr/>
              </p:nvSpPr>
              <p:spPr>
                <a:xfrm>
                  <a:off x="8229799" y="2768458"/>
                  <a:ext cx="175040" cy="174908"/>
                </a:xfrm>
                <a:prstGeom prst="trapezoid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19" name="Trapezoid 159"/>
                <p:cNvSpPr/>
                <p:nvPr/>
              </p:nvSpPr>
              <p:spPr>
                <a:xfrm rot="10800000">
                  <a:off x="8229799" y="4634676"/>
                  <a:ext cx="175040" cy="174908"/>
                </a:xfrm>
                <a:prstGeom prst="trapezoid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17" name="Oval 10"/>
              <p:cNvSpPr>
                <a:spLocks noChangeAspect="1"/>
              </p:cNvSpPr>
              <p:nvPr/>
            </p:nvSpPr>
            <p:spPr>
              <a:xfrm>
                <a:off x="915182" y="3175845"/>
                <a:ext cx="1408186" cy="1408186"/>
              </a:xfrm>
              <a:prstGeom prst="ellipse">
                <a:avLst/>
              </a:prstGeom>
              <a:solidFill>
                <a:schemeClr val="bg1"/>
              </a:solidFill>
              <a:ln w="76200">
                <a:solidFill>
                  <a:schemeClr val="tx2">
                    <a:lumMod val="75000"/>
                    <a:lumOff val="2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130" name="Group 18"/>
            <p:cNvGrpSpPr/>
            <p:nvPr/>
          </p:nvGrpSpPr>
          <p:grpSpPr>
            <a:xfrm>
              <a:off x="2417227" y="2896955"/>
              <a:ext cx="2041126" cy="2041126"/>
              <a:chOff x="2955023" y="2855911"/>
              <a:chExt cx="2041126" cy="2041126"/>
            </a:xfrm>
          </p:grpSpPr>
          <p:sp>
            <p:nvSpPr>
              <p:cNvPr id="131" name="Circle: Hollow 322"/>
              <p:cNvSpPr>
                <a:spLocks noChangeAspect="1"/>
              </p:cNvSpPr>
              <p:nvPr/>
            </p:nvSpPr>
            <p:spPr>
              <a:xfrm>
                <a:off x="3117231" y="3018119"/>
                <a:ext cx="1716710" cy="1716710"/>
              </a:xfrm>
              <a:prstGeom prst="donut">
                <a:avLst>
                  <a:gd name="adj" fmla="val 7139"/>
                </a:avLst>
              </a:prstGeom>
              <a:solidFill>
                <a:srgbClr val="0E80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132" name="Group 323"/>
              <p:cNvGrpSpPr/>
              <p:nvPr/>
            </p:nvGrpSpPr>
            <p:grpSpPr>
              <a:xfrm>
                <a:off x="3888066" y="2855911"/>
                <a:ext cx="175040" cy="2041126"/>
                <a:chOff x="8229799" y="2768458"/>
                <a:chExt cx="175040" cy="2041126"/>
              </a:xfrm>
              <a:solidFill>
                <a:schemeClr val="accent1"/>
              </a:solidFill>
            </p:grpSpPr>
            <p:sp>
              <p:nvSpPr>
                <p:cNvPr id="149" name="Trapezoid 340"/>
                <p:cNvSpPr/>
                <p:nvPr/>
              </p:nvSpPr>
              <p:spPr>
                <a:xfrm>
                  <a:off x="8229799" y="2768458"/>
                  <a:ext cx="175040" cy="174908"/>
                </a:xfrm>
                <a:prstGeom prst="trapezoid">
                  <a:avLst/>
                </a:prstGeom>
                <a:solidFill>
                  <a:srgbClr val="0E80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50" name="Trapezoid 341"/>
                <p:cNvSpPr/>
                <p:nvPr/>
              </p:nvSpPr>
              <p:spPr>
                <a:xfrm rot="10800000">
                  <a:off x="8229799" y="4634676"/>
                  <a:ext cx="175040" cy="174908"/>
                </a:xfrm>
                <a:prstGeom prst="trapezoid">
                  <a:avLst/>
                </a:prstGeom>
                <a:solidFill>
                  <a:srgbClr val="0E80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33" name="Group 324"/>
              <p:cNvGrpSpPr/>
              <p:nvPr/>
            </p:nvGrpSpPr>
            <p:grpSpPr>
              <a:xfrm rot="5400000">
                <a:off x="3888066" y="2855911"/>
                <a:ext cx="175040" cy="2041126"/>
                <a:chOff x="8229799" y="2768458"/>
                <a:chExt cx="175040" cy="2041126"/>
              </a:xfrm>
              <a:solidFill>
                <a:schemeClr val="accent1"/>
              </a:solidFill>
            </p:grpSpPr>
            <p:sp>
              <p:nvSpPr>
                <p:cNvPr id="147" name="Trapezoid 338"/>
                <p:cNvSpPr/>
                <p:nvPr/>
              </p:nvSpPr>
              <p:spPr>
                <a:xfrm>
                  <a:off x="8229799" y="2768458"/>
                  <a:ext cx="175040" cy="174908"/>
                </a:xfrm>
                <a:prstGeom prst="trapezoid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48" name="Trapezoid 339"/>
                <p:cNvSpPr/>
                <p:nvPr/>
              </p:nvSpPr>
              <p:spPr>
                <a:xfrm rot="10800000">
                  <a:off x="8229799" y="4634676"/>
                  <a:ext cx="175040" cy="174908"/>
                </a:xfrm>
                <a:prstGeom prst="trapezoid">
                  <a:avLst/>
                </a:prstGeom>
                <a:solidFill>
                  <a:srgbClr val="0E80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34" name="Group 325"/>
              <p:cNvGrpSpPr/>
              <p:nvPr/>
            </p:nvGrpSpPr>
            <p:grpSpPr>
              <a:xfrm rot="1800000">
                <a:off x="3888066" y="2855911"/>
                <a:ext cx="175040" cy="2041126"/>
                <a:chOff x="8229799" y="2768458"/>
                <a:chExt cx="175040" cy="2041126"/>
              </a:xfrm>
              <a:solidFill>
                <a:schemeClr val="accent1"/>
              </a:solidFill>
            </p:grpSpPr>
            <p:sp>
              <p:nvSpPr>
                <p:cNvPr id="145" name="Trapezoid 336"/>
                <p:cNvSpPr/>
                <p:nvPr/>
              </p:nvSpPr>
              <p:spPr>
                <a:xfrm>
                  <a:off x="8229799" y="2768458"/>
                  <a:ext cx="175040" cy="174908"/>
                </a:xfrm>
                <a:prstGeom prst="trapezoid">
                  <a:avLst/>
                </a:prstGeom>
                <a:solidFill>
                  <a:srgbClr val="0E80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46" name="Trapezoid 337"/>
                <p:cNvSpPr/>
                <p:nvPr/>
              </p:nvSpPr>
              <p:spPr>
                <a:xfrm rot="10800000">
                  <a:off x="8229799" y="4634676"/>
                  <a:ext cx="175040" cy="174908"/>
                </a:xfrm>
                <a:prstGeom prst="trapezoid">
                  <a:avLst/>
                </a:prstGeom>
                <a:solidFill>
                  <a:srgbClr val="0E80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35" name="Group 326"/>
              <p:cNvGrpSpPr/>
              <p:nvPr/>
            </p:nvGrpSpPr>
            <p:grpSpPr>
              <a:xfrm rot="3600000">
                <a:off x="3888066" y="2855911"/>
                <a:ext cx="175040" cy="2041126"/>
                <a:chOff x="8229799" y="2768458"/>
                <a:chExt cx="175040" cy="2041126"/>
              </a:xfrm>
              <a:solidFill>
                <a:schemeClr val="accent1"/>
              </a:solidFill>
            </p:grpSpPr>
            <p:sp>
              <p:nvSpPr>
                <p:cNvPr id="143" name="Trapezoid 334"/>
                <p:cNvSpPr/>
                <p:nvPr/>
              </p:nvSpPr>
              <p:spPr>
                <a:xfrm>
                  <a:off x="8229799" y="2768458"/>
                  <a:ext cx="175040" cy="174908"/>
                </a:xfrm>
                <a:prstGeom prst="trapezoid">
                  <a:avLst/>
                </a:prstGeom>
                <a:solidFill>
                  <a:srgbClr val="0E80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44" name="Trapezoid 335"/>
                <p:cNvSpPr/>
                <p:nvPr/>
              </p:nvSpPr>
              <p:spPr>
                <a:xfrm rot="10800000">
                  <a:off x="8229799" y="4634676"/>
                  <a:ext cx="175040" cy="174908"/>
                </a:xfrm>
                <a:prstGeom prst="trapezoid">
                  <a:avLst/>
                </a:prstGeom>
                <a:solidFill>
                  <a:srgbClr val="0E80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36" name="Group 327"/>
              <p:cNvGrpSpPr/>
              <p:nvPr/>
            </p:nvGrpSpPr>
            <p:grpSpPr>
              <a:xfrm rot="7200000">
                <a:off x="3888066" y="2855911"/>
                <a:ext cx="175040" cy="2041126"/>
                <a:chOff x="8229799" y="2768458"/>
                <a:chExt cx="175040" cy="2041126"/>
              </a:xfrm>
              <a:solidFill>
                <a:schemeClr val="accent1"/>
              </a:solidFill>
            </p:grpSpPr>
            <p:sp>
              <p:nvSpPr>
                <p:cNvPr id="141" name="Trapezoid 332"/>
                <p:cNvSpPr/>
                <p:nvPr/>
              </p:nvSpPr>
              <p:spPr>
                <a:xfrm>
                  <a:off x="8229799" y="2768458"/>
                  <a:ext cx="175040" cy="174908"/>
                </a:xfrm>
                <a:prstGeom prst="trapezoid">
                  <a:avLst/>
                </a:prstGeom>
                <a:solidFill>
                  <a:srgbClr val="0E80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42" name="Trapezoid 333"/>
                <p:cNvSpPr/>
                <p:nvPr/>
              </p:nvSpPr>
              <p:spPr>
                <a:xfrm rot="10800000">
                  <a:off x="8229799" y="4634676"/>
                  <a:ext cx="175040" cy="174908"/>
                </a:xfrm>
                <a:prstGeom prst="trapezoid">
                  <a:avLst/>
                </a:prstGeom>
                <a:solidFill>
                  <a:srgbClr val="0E80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37" name="Group 328"/>
              <p:cNvGrpSpPr/>
              <p:nvPr/>
            </p:nvGrpSpPr>
            <p:grpSpPr>
              <a:xfrm rot="9000000">
                <a:off x="3888066" y="2855911"/>
                <a:ext cx="175040" cy="2041126"/>
                <a:chOff x="8229799" y="2768458"/>
                <a:chExt cx="175040" cy="2041126"/>
              </a:xfrm>
              <a:solidFill>
                <a:schemeClr val="accent1"/>
              </a:solidFill>
            </p:grpSpPr>
            <p:sp>
              <p:nvSpPr>
                <p:cNvPr id="139" name="Trapezoid 330"/>
                <p:cNvSpPr/>
                <p:nvPr/>
              </p:nvSpPr>
              <p:spPr>
                <a:xfrm>
                  <a:off x="8229799" y="2768458"/>
                  <a:ext cx="175040" cy="174908"/>
                </a:xfrm>
                <a:prstGeom prst="trapezoid">
                  <a:avLst/>
                </a:prstGeom>
                <a:solidFill>
                  <a:srgbClr val="0E80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40" name="Trapezoid 331"/>
                <p:cNvSpPr/>
                <p:nvPr/>
              </p:nvSpPr>
              <p:spPr>
                <a:xfrm rot="10800000">
                  <a:off x="8229799" y="4634676"/>
                  <a:ext cx="175040" cy="174908"/>
                </a:xfrm>
                <a:prstGeom prst="trapezoid">
                  <a:avLst/>
                </a:prstGeom>
                <a:solidFill>
                  <a:srgbClr val="0E80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38" name="Oval 329"/>
              <p:cNvSpPr>
                <a:spLocks noChangeAspect="1"/>
              </p:cNvSpPr>
              <p:nvPr/>
            </p:nvSpPr>
            <p:spPr>
              <a:xfrm>
                <a:off x="3269172" y="3175844"/>
                <a:ext cx="1408186" cy="1408186"/>
              </a:xfrm>
              <a:prstGeom prst="ellipse">
                <a:avLst/>
              </a:prstGeom>
              <a:solidFill>
                <a:schemeClr val="bg1"/>
              </a:solidFill>
              <a:ln w="76200">
                <a:solidFill>
                  <a:schemeClr val="accent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151" name="Group 19"/>
            <p:cNvGrpSpPr/>
            <p:nvPr/>
          </p:nvGrpSpPr>
          <p:grpSpPr>
            <a:xfrm>
              <a:off x="3955929" y="2896955"/>
              <a:ext cx="2041126" cy="2041126"/>
              <a:chOff x="5517577" y="2855912"/>
              <a:chExt cx="2041126" cy="2041126"/>
            </a:xfrm>
          </p:grpSpPr>
          <p:sp>
            <p:nvSpPr>
              <p:cNvPr id="152" name="Circle: Hollow 342"/>
              <p:cNvSpPr>
                <a:spLocks noChangeAspect="1"/>
              </p:cNvSpPr>
              <p:nvPr/>
            </p:nvSpPr>
            <p:spPr>
              <a:xfrm>
                <a:off x="5679785" y="3018120"/>
                <a:ext cx="1716710" cy="1716710"/>
              </a:xfrm>
              <a:prstGeom prst="donut">
                <a:avLst>
                  <a:gd name="adj" fmla="val 7139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153" name="Group 343"/>
              <p:cNvGrpSpPr/>
              <p:nvPr/>
            </p:nvGrpSpPr>
            <p:grpSpPr>
              <a:xfrm>
                <a:off x="6450620" y="2855912"/>
                <a:ext cx="175040" cy="2041126"/>
                <a:chOff x="8229799" y="2768458"/>
                <a:chExt cx="175040" cy="2041126"/>
              </a:xfrm>
              <a:solidFill>
                <a:schemeClr val="accent2"/>
              </a:solidFill>
            </p:grpSpPr>
            <p:sp>
              <p:nvSpPr>
                <p:cNvPr id="170" name="Trapezoid 344"/>
                <p:cNvSpPr/>
                <p:nvPr/>
              </p:nvSpPr>
              <p:spPr>
                <a:xfrm>
                  <a:off x="8229799" y="2768458"/>
                  <a:ext cx="175040" cy="174908"/>
                </a:xfrm>
                <a:prstGeom prst="trapezoid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71" name="Trapezoid 345"/>
                <p:cNvSpPr/>
                <p:nvPr/>
              </p:nvSpPr>
              <p:spPr>
                <a:xfrm rot="10800000">
                  <a:off x="8229799" y="4634676"/>
                  <a:ext cx="175040" cy="174908"/>
                </a:xfrm>
                <a:prstGeom prst="trapezoid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54" name="Group 346"/>
              <p:cNvGrpSpPr/>
              <p:nvPr/>
            </p:nvGrpSpPr>
            <p:grpSpPr>
              <a:xfrm rot="5400000">
                <a:off x="6450620" y="2855912"/>
                <a:ext cx="175040" cy="2041126"/>
                <a:chOff x="8229799" y="2768458"/>
                <a:chExt cx="175040" cy="2041126"/>
              </a:xfrm>
              <a:solidFill>
                <a:schemeClr val="accent2"/>
              </a:solidFill>
            </p:grpSpPr>
            <p:sp>
              <p:nvSpPr>
                <p:cNvPr id="168" name="Trapezoid 347"/>
                <p:cNvSpPr/>
                <p:nvPr/>
              </p:nvSpPr>
              <p:spPr>
                <a:xfrm>
                  <a:off x="8229799" y="2768458"/>
                  <a:ext cx="175040" cy="174908"/>
                </a:xfrm>
                <a:prstGeom prst="trapezoid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69" name="Trapezoid 348"/>
                <p:cNvSpPr/>
                <p:nvPr/>
              </p:nvSpPr>
              <p:spPr>
                <a:xfrm rot="10800000">
                  <a:off x="8229799" y="4634676"/>
                  <a:ext cx="175040" cy="174908"/>
                </a:xfrm>
                <a:prstGeom prst="trapezoid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55" name="Group 349"/>
              <p:cNvGrpSpPr/>
              <p:nvPr/>
            </p:nvGrpSpPr>
            <p:grpSpPr>
              <a:xfrm rot="1800000">
                <a:off x="6450620" y="2855912"/>
                <a:ext cx="175040" cy="2041126"/>
                <a:chOff x="8229799" y="2768458"/>
                <a:chExt cx="175040" cy="2041126"/>
              </a:xfrm>
              <a:solidFill>
                <a:schemeClr val="accent2"/>
              </a:solidFill>
            </p:grpSpPr>
            <p:sp>
              <p:nvSpPr>
                <p:cNvPr id="166" name="Trapezoid 350"/>
                <p:cNvSpPr/>
                <p:nvPr/>
              </p:nvSpPr>
              <p:spPr>
                <a:xfrm>
                  <a:off x="8229799" y="2768458"/>
                  <a:ext cx="175040" cy="174908"/>
                </a:xfrm>
                <a:prstGeom prst="trapezoid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67" name="Trapezoid 351"/>
                <p:cNvSpPr/>
                <p:nvPr/>
              </p:nvSpPr>
              <p:spPr>
                <a:xfrm rot="10800000">
                  <a:off x="8229799" y="4634676"/>
                  <a:ext cx="175040" cy="174908"/>
                </a:xfrm>
                <a:prstGeom prst="trapezoid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56" name="Group 352"/>
              <p:cNvGrpSpPr/>
              <p:nvPr/>
            </p:nvGrpSpPr>
            <p:grpSpPr>
              <a:xfrm rot="3600000">
                <a:off x="6450620" y="2855912"/>
                <a:ext cx="175040" cy="2041126"/>
                <a:chOff x="8229799" y="2768458"/>
                <a:chExt cx="175040" cy="2041126"/>
              </a:xfrm>
              <a:solidFill>
                <a:schemeClr val="accent2"/>
              </a:solidFill>
            </p:grpSpPr>
            <p:sp>
              <p:nvSpPr>
                <p:cNvPr id="164" name="Trapezoid 353"/>
                <p:cNvSpPr/>
                <p:nvPr/>
              </p:nvSpPr>
              <p:spPr>
                <a:xfrm>
                  <a:off x="8229799" y="2768458"/>
                  <a:ext cx="175040" cy="174908"/>
                </a:xfrm>
                <a:prstGeom prst="trapezoid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65" name="Trapezoid 354"/>
                <p:cNvSpPr/>
                <p:nvPr/>
              </p:nvSpPr>
              <p:spPr>
                <a:xfrm rot="10800000">
                  <a:off x="8229799" y="4634676"/>
                  <a:ext cx="175040" cy="174908"/>
                </a:xfrm>
                <a:prstGeom prst="trapezoid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57" name="Group 355"/>
              <p:cNvGrpSpPr/>
              <p:nvPr/>
            </p:nvGrpSpPr>
            <p:grpSpPr>
              <a:xfrm rot="7200000">
                <a:off x="6450620" y="2855912"/>
                <a:ext cx="175040" cy="2041126"/>
                <a:chOff x="8229799" y="2768458"/>
                <a:chExt cx="175040" cy="2041126"/>
              </a:xfrm>
              <a:solidFill>
                <a:schemeClr val="accent2"/>
              </a:solidFill>
            </p:grpSpPr>
            <p:sp>
              <p:nvSpPr>
                <p:cNvPr id="162" name="Trapezoid 356"/>
                <p:cNvSpPr/>
                <p:nvPr/>
              </p:nvSpPr>
              <p:spPr>
                <a:xfrm>
                  <a:off x="8229799" y="2768458"/>
                  <a:ext cx="175040" cy="174908"/>
                </a:xfrm>
                <a:prstGeom prst="trapezoid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63" name="Trapezoid 357"/>
                <p:cNvSpPr/>
                <p:nvPr/>
              </p:nvSpPr>
              <p:spPr>
                <a:xfrm rot="10800000">
                  <a:off x="8229799" y="4634676"/>
                  <a:ext cx="175040" cy="174908"/>
                </a:xfrm>
                <a:prstGeom prst="trapezoid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58" name="Group 358"/>
              <p:cNvGrpSpPr/>
              <p:nvPr/>
            </p:nvGrpSpPr>
            <p:grpSpPr>
              <a:xfrm rot="9000000">
                <a:off x="6450620" y="2855912"/>
                <a:ext cx="175040" cy="2041126"/>
                <a:chOff x="8229799" y="2768458"/>
                <a:chExt cx="175040" cy="2041126"/>
              </a:xfrm>
              <a:solidFill>
                <a:schemeClr val="accent2"/>
              </a:solidFill>
            </p:grpSpPr>
            <p:sp>
              <p:nvSpPr>
                <p:cNvPr id="160" name="Trapezoid 359"/>
                <p:cNvSpPr/>
                <p:nvPr/>
              </p:nvSpPr>
              <p:spPr>
                <a:xfrm>
                  <a:off x="8229799" y="2768458"/>
                  <a:ext cx="175040" cy="174908"/>
                </a:xfrm>
                <a:prstGeom prst="trapezoid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61" name="Trapezoid 360"/>
                <p:cNvSpPr/>
                <p:nvPr/>
              </p:nvSpPr>
              <p:spPr>
                <a:xfrm rot="10800000">
                  <a:off x="8229799" y="4634676"/>
                  <a:ext cx="175040" cy="174908"/>
                </a:xfrm>
                <a:prstGeom prst="trapezoid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59" name="Oval 361"/>
              <p:cNvSpPr>
                <a:spLocks noChangeAspect="1"/>
              </p:cNvSpPr>
              <p:nvPr/>
            </p:nvSpPr>
            <p:spPr>
              <a:xfrm>
                <a:off x="5831726" y="3175845"/>
                <a:ext cx="1408186" cy="1408186"/>
              </a:xfrm>
              <a:prstGeom prst="ellipse">
                <a:avLst/>
              </a:prstGeom>
              <a:solidFill>
                <a:schemeClr val="bg1"/>
              </a:solidFill>
              <a:ln w="76200">
                <a:solidFill>
                  <a:schemeClr val="accent2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172" name="Group 20"/>
            <p:cNvGrpSpPr/>
            <p:nvPr/>
          </p:nvGrpSpPr>
          <p:grpSpPr>
            <a:xfrm>
              <a:off x="5494631" y="2896955"/>
              <a:ext cx="2041126" cy="2041126"/>
              <a:chOff x="7964592" y="2855911"/>
              <a:chExt cx="2041126" cy="2041126"/>
            </a:xfrm>
          </p:grpSpPr>
          <p:sp>
            <p:nvSpPr>
              <p:cNvPr id="173" name="Circle: Hollow 362"/>
              <p:cNvSpPr>
                <a:spLocks noChangeAspect="1"/>
              </p:cNvSpPr>
              <p:nvPr/>
            </p:nvSpPr>
            <p:spPr>
              <a:xfrm>
                <a:off x="8126800" y="3018119"/>
                <a:ext cx="1716710" cy="1716710"/>
              </a:xfrm>
              <a:prstGeom prst="donut">
                <a:avLst>
                  <a:gd name="adj" fmla="val 7139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174" name="Group 363"/>
              <p:cNvGrpSpPr/>
              <p:nvPr/>
            </p:nvGrpSpPr>
            <p:grpSpPr>
              <a:xfrm>
                <a:off x="8897635" y="2855911"/>
                <a:ext cx="175040" cy="2041126"/>
                <a:chOff x="8229799" y="2768458"/>
                <a:chExt cx="175040" cy="2041126"/>
              </a:xfrm>
              <a:solidFill>
                <a:schemeClr val="accent3"/>
              </a:solidFill>
            </p:grpSpPr>
            <p:sp>
              <p:nvSpPr>
                <p:cNvPr id="191" name="Trapezoid 364"/>
                <p:cNvSpPr/>
                <p:nvPr/>
              </p:nvSpPr>
              <p:spPr>
                <a:xfrm>
                  <a:off x="8229799" y="2768458"/>
                  <a:ext cx="175040" cy="174908"/>
                </a:xfrm>
                <a:prstGeom prst="trapezoid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92" name="Trapezoid 365"/>
                <p:cNvSpPr/>
                <p:nvPr/>
              </p:nvSpPr>
              <p:spPr>
                <a:xfrm rot="10800000">
                  <a:off x="8229799" y="4634676"/>
                  <a:ext cx="175040" cy="174908"/>
                </a:xfrm>
                <a:prstGeom prst="trapezoid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5" name="Group 366"/>
              <p:cNvGrpSpPr/>
              <p:nvPr/>
            </p:nvGrpSpPr>
            <p:grpSpPr>
              <a:xfrm rot="5400000">
                <a:off x="8897635" y="2855911"/>
                <a:ext cx="175040" cy="2041126"/>
                <a:chOff x="8229799" y="2768458"/>
                <a:chExt cx="175040" cy="2041126"/>
              </a:xfrm>
              <a:solidFill>
                <a:schemeClr val="accent3"/>
              </a:solidFill>
            </p:grpSpPr>
            <p:sp>
              <p:nvSpPr>
                <p:cNvPr id="189" name="Trapezoid 367"/>
                <p:cNvSpPr/>
                <p:nvPr/>
              </p:nvSpPr>
              <p:spPr>
                <a:xfrm>
                  <a:off x="8229799" y="2768458"/>
                  <a:ext cx="175040" cy="174908"/>
                </a:xfrm>
                <a:prstGeom prst="trapezoid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90" name="Trapezoid 368"/>
                <p:cNvSpPr/>
                <p:nvPr/>
              </p:nvSpPr>
              <p:spPr>
                <a:xfrm rot="10800000">
                  <a:off x="8229799" y="4634676"/>
                  <a:ext cx="175040" cy="174908"/>
                </a:xfrm>
                <a:prstGeom prst="trapezoid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6" name="Group 369"/>
              <p:cNvGrpSpPr/>
              <p:nvPr/>
            </p:nvGrpSpPr>
            <p:grpSpPr>
              <a:xfrm rot="1800000">
                <a:off x="8897635" y="2855911"/>
                <a:ext cx="175040" cy="2041126"/>
                <a:chOff x="8229799" y="2768458"/>
                <a:chExt cx="175040" cy="2041126"/>
              </a:xfrm>
              <a:solidFill>
                <a:schemeClr val="accent3"/>
              </a:solidFill>
            </p:grpSpPr>
            <p:sp>
              <p:nvSpPr>
                <p:cNvPr id="187" name="Trapezoid 370"/>
                <p:cNvSpPr/>
                <p:nvPr/>
              </p:nvSpPr>
              <p:spPr>
                <a:xfrm>
                  <a:off x="8229799" y="2768458"/>
                  <a:ext cx="175040" cy="174908"/>
                </a:xfrm>
                <a:prstGeom prst="trapezoid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88" name="Trapezoid 371"/>
                <p:cNvSpPr/>
                <p:nvPr/>
              </p:nvSpPr>
              <p:spPr>
                <a:xfrm rot="10800000">
                  <a:off x="8229799" y="4634676"/>
                  <a:ext cx="175040" cy="174908"/>
                </a:xfrm>
                <a:prstGeom prst="trapezoid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7" name="Group 372"/>
              <p:cNvGrpSpPr/>
              <p:nvPr/>
            </p:nvGrpSpPr>
            <p:grpSpPr>
              <a:xfrm rot="3600000">
                <a:off x="8897635" y="2855911"/>
                <a:ext cx="175040" cy="2041126"/>
                <a:chOff x="8229799" y="2768458"/>
                <a:chExt cx="175040" cy="2041126"/>
              </a:xfrm>
              <a:solidFill>
                <a:schemeClr val="accent3"/>
              </a:solidFill>
            </p:grpSpPr>
            <p:sp>
              <p:nvSpPr>
                <p:cNvPr id="185" name="Trapezoid 373"/>
                <p:cNvSpPr/>
                <p:nvPr/>
              </p:nvSpPr>
              <p:spPr>
                <a:xfrm>
                  <a:off x="8229799" y="2768458"/>
                  <a:ext cx="175040" cy="174908"/>
                </a:xfrm>
                <a:prstGeom prst="trapezoid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86" name="Trapezoid 374"/>
                <p:cNvSpPr/>
                <p:nvPr/>
              </p:nvSpPr>
              <p:spPr>
                <a:xfrm rot="10800000">
                  <a:off x="8229799" y="4634676"/>
                  <a:ext cx="175040" cy="174908"/>
                </a:xfrm>
                <a:prstGeom prst="trapezoid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8" name="Group 375"/>
              <p:cNvGrpSpPr/>
              <p:nvPr/>
            </p:nvGrpSpPr>
            <p:grpSpPr>
              <a:xfrm rot="7200000">
                <a:off x="8897635" y="2855911"/>
                <a:ext cx="175040" cy="2041126"/>
                <a:chOff x="8229799" y="2768458"/>
                <a:chExt cx="175040" cy="2041126"/>
              </a:xfrm>
              <a:solidFill>
                <a:schemeClr val="accent3"/>
              </a:solidFill>
            </p:grpSpPr>
            <p:sp>
              <p:nvSpPr>
                <p:cNvPr id="183" name="Trapezoid 376"/>
                <p:cNvSpPr/>
                <p:nvPr/>
              </p:nvSpPr>
              <p:spPr>
                <a:xfrm>
                  <a:off x="8229799" y="2768458"/>
                  <a:ext cx="175040" cy="174908"/>
                </a:xfrm>
                <a:prstGeom prst="trapezoid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84" name="Trapezoid 377"/>
                <p:cNvSpPr/>
                <p:nvPr/>
              </p:nvSpPr>
              <p:spPr>
                <a:xfrm rot="10800000">
                  <a:off x="8229799" y="4634676"/>
                  <a:ext cx="175040" cy="174908"/>
                </a:xfrm>
                <a:prstGeom prst="trapezoid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9" name="Group 378"/>
              <p:cNvGrpSpPr/>
              <p:nvPr/>
            </p:nvGrpSpPr>
            <p:grpSpPr>
              <a:xfrm rot="9000000">
                <a:off x="8897635" y="2855911"/>
                <a:ext cx="175040" cy="2041126"/>
                <a:chOff x="8229799" y="2768458"/>
                <a:chExt cx="175040" cy="2041126"/>
              </a:xfrm>
              <a:solidFill>
                <a:schemeClr val="accent3"/>
              </a:solidFill>
            </p:grpSpPr>
            <p:sp>
              <p:nvSpPr>
                <p:cNvPr id="181" name="Trapezoid 379"/>
                <p:cNvSpPr/>
                <p:nvPr/>
              </p:nvSpPr>
              <p:spPr>
                <a:xfrm>
                  <a:off x="8229799" y="2768458"/>
                  <a:ext cx="175040" cy="174908"/>
                </a:xfrm>
                <a:prstGeom prst="trapezoid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82" name="Trapezoid 380"/>
                <p:cNvSpPr/>
                <p:nvPr/>
              </p:nvSpPr>
              <p:spPr>
                <a:xfrm rot="10800000">
                  <a:off x="8229799" y="4634676"/>
                  <a:ext cx="175040" cy="174908"/>
                </a:xfrm>
                <a:prstGeom prst="trapezoid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80" name="Oval 381"/>
              <p:cNvSpPr>
                <a:spLocks noChangeAspect="1"/>
              </p:cNvSpPr>
              <p:nvPr/>
            </p:nvSpPr>
            <p:spPr>
              <a:xfrm>
                <a:off x="8278741" y="3175844"/>
                <a:ext cx="1408186" cy="1408186"/>
              </a:xfrm>
              <a:prstGeom prst="ellipse">
                <a:avLst/>
              </a:prstGeom>
              <a:solidFill>
                <a:schemeClr val="bg1"/>
              </a:solidFill>
              <a:ln w="76200"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193" name="Group 17"/>
            <p:cNvGrpSpPr/>
            <p:nvPr/>
          </p:nvGrpSpPr>
          <p:grpSpPr>
            <a:xfrm>
              <a:off x="7033333" y="2896955"/>
              <a:ext cx="2041126" cy="2041126"/>
              <a:chOff x="10100130" y="2614418"/>
              <a:chExt cx="2041126" cy="2041126"/>
            </a:xfrm>
          </p:grpSpPr>
          <p:sp>
            <p:nvSpPr>
              <p:cNvPr id="194" name="Circle: Hollow 382"/>
              <p:cNvSpPr>
                <a:spLocks noChangeAspect="1"/>
              </p:cNvSpPr>
              <p:nvPr/>
            </p:nvSpPr>
            <p:spPr>
              <a:xfrm>
                <a:off x="10262338" y="2776626"/>
                <a:ext cx="1716710" cy="1716710"/>
              </a:xfrm>
              <a:prstGeom prst="donut">
                <a:avLst>
                  <a:gd name="adj" fmla="val 7139"/>
                </a:avLst>
              </a:prstGeom>
              <a:solidFill>
                <a:srgbClr val="FD9B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195" name="Group 383"/>
              <p:cNvGrpSpPr/>
              <p:nvPr/>
            </p:nvGrpSpPr>
            <p:grpSpPr>
              <a:xfrm>
                <a:off x="11033173" y="2614418"/>
                <a:ext cx="175040" cy="2041126"/>
                <a:chOff x="8229799" y="2768458"/>
                <a:chExt cx="175040" cy="2041126"/>
              </a:xfrm>
              <a:solidFill>
                <a:schemeClr val="accent4"/>
              </a:solidFill>
            </p:grpSpPr>
            <p:sp>
              <p:nvSpPr>
                <p:cNvPr id="212" name="Trapezoid 384"/>
                <p:cNvSpPr/>
                <p:nvPr/>
              </p:nvSpPr>
              <p:spPr>
                <a:xfrm>
                  <a:off x="8229799" y="2768458"/>
                  <a:ext cx="175040" cy="174908"/>
                </a:xfrm>
                <a:prstGeom prst="trapezoid">
                  <a:avLst/>
                </a:prstGeom>
                <a:solidFill>
                  <a:srgbClr val="FD9B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213" name="Trapezoid 385"/>
                <p:cNvSpPr/>
                <p:nvPr/>
              </p:nvSpPr>
              <p:spPr>
                <a:xfrm rot="10800000">
                  <a:off x="8229799" y="4634676"/>
                  <a:ext cx="175040" cy="174908"/>
                </a:xfrm>
                <a:prstGeom prst="trapezoid">
                  <a:avLst/>
                </a:prstGeom>
                <a:solidFill>
                  <a:srgbClr val="FD9B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96" name="Group 386"/>
              <p:cNvGrpSpPr/>
              <p:nvPr/>
            </p:nvGrpSpPr>
            <p:grpSpPr>
              <a:xfrm rot="5400000">
                <a:off x="11033173" y="2614418"/>
                <a:ext cx="175040" cy="2041126"/>
                <a:chOff x="8229799" y="2768458"/>
                <a:chExt cx="175040" cy="2041126"/>
              </a:xfrm>
              <a:solidFill>
                <a:schemeClr val="accent4"/>
              </a:solidFill>
            </p:grpSpPr>
            <p:sp>
              <p:nvSpPr>
                <p:cNvPr id="210" name="Trapezoid 387"/>
                <p:cNvSpPr/>
                <p:nvPr/>
              </p:nvSpPr>
              <p:spPr>
                <a:xfrm>
                  <a:off x="8229799" y="2768458"/>
                  <a:ext cx="175040" cy="174908"/>
                </a:xfrm>
                <a:prstGeom prst="trapezoid">
                  <a:avLst/>
                </a:prstGeom>
                <a:solidFill>
                  <a:srgbClr val="FD9B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211" name="Trapezoid 388"/>
                <p:cNvSpPr/>
                <p:nvPr/>
              </p:nvSpPr>
              <p:spPr>
                <a:xfrm rot="10800000">
                  <a:off x="8229799" y="4634676"/>
                  <a:ext cx="175040" cy="174908"/>
                </a:xfrm>
                <a:prstGeom prst="trapezoid">
                  <a:avLst/>
                </a:prstGeom>
                <a:solidFill>
                  <a:srgbClr val="FD9B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97" name="Group 389"/>
              <p:cNvGrpSpPr/>
              <p:nvPr/>
            </p:nvGrpSpPr>
            <p:grpSpPr>
              <a:xfrm rot="1800000">
                <a:off x="11033173" y="2614418"/>
                <a:ext cx="175040" cy="2041126"/>
                <a:chOff x="8229799" y="2768458"/>
                <a:chExt cx="175040" cy="2041126"/>
              </a:xfrm>
              <a:solidFill>
                <a:schemeClr val="accent4"/>
              </a:solidFill>
            </p:grpSpPr>
            <p:sp>
              <p:nvSpPr>
                <p:cNvPr id="208" name="Trapezoid 390"/>
                <p:cNvSpPr/>
                <p:nvPr/>
              </p:nvSpPr>
              <p:spPr>
                <a:xfrm>
                  <a:off x="8229799" y="2768458"/>
                  <a:ext cx="175040" cy="174908"/>
                </a:xfrm>
                <a:prstGeom prst="trapezoid">
                  <a:avLst/>
                </a:prstGeom>
                <a:solidFill>
                  <a:srgbClr val="FD9B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209" name="Trapezoid 391"/>
                <p:cNvSpPr/>
                <p:nvPr/>
              </p:nvSpPr>
              <p:spPr>
                <a:xfrm rot="10800000">
                  <a:off x="8229799" y="4634676"/>
                  <a:ext cx="175040" cy="174908"/>
                </a:xfrm>
                <a:prstGeom prst="trapezoid">
                  <a:avLst/>
                </a:prstGeom>
                <a:solidFill>
                  <a:srgbClr val="FD9B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98" name="Group 392"/>
              <p:cNvGrpSpPr/>
              <p:nvPr/>
            </p:nvGrpSpPr>
            <p:grpSpPr>
              <a:xfrm rot="3600000">
                <a:off x="11033173" y="2614418"/>
                <a:ext cx="175040" cy="2041126"/>
                <a:chOff x="8229799" y="2768458"/>
                <a:chExt cx="175040" cy="2041126"/>
              </a:xfrm>
              <a:solidFill>
                <a:schemeClr val="accent4"/>
              </a:solidFill>
            </p:grpSpPr>
            <p:sp>
              <p:nvSpPr>
                <p:cNvPr id="206" name="Trapezoid 393"/>
                <p:cNvSpPr/>
                <p:nvPr/>
              </p:nvSpPr>
              <p:spPr>
                <a:xfrm>
                  <a:off x="8229799" y="2768458"/>
                  <a:ext cx="175040" cy="174908"/>
                </a:xfrm>
                <a:prstGeom prst="trapezoid">
                  <a:avLst/>
                </a:prstGeom>
                <a:solidFill>
                  <a:srgbClr val="FD9B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207" name="Trapezoid 394"/>
                <p:cNvSpPr/>
                <p:nvPr/>
              </p:nvSpPr>
              <p:spPr>
                <a:xfrm rot="10800000">
                  <a:off x="8229799" y="4634676"/>
                  <a:ext cx="175040" cy="174908"/>
                </a:xfrm>
                <a:prstGeom prst="trapezoid">
                  <a:avLst/>
                </a:prstGeom>
                <a:solidFill>
                  <a:srgbClr val="FD9B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99" name="Group 395"/>
              <p:cNvGrpSpPr/>
              <p:nvPr/>
            </p:nvGrpSpPr>
            <p:grpSpPr>
              <a:xfrm rot="7200000">
                <a:off x="11033173" y="2614418"/>
                <a:ext cx="175040" cy="2041126"/>
                <a:chOff x="8229799" y="2768458"/>
                <a:chExt cx="175040" cy="2041126"/>
              </a:xfrm>
              <a:solidFill>
                <a:schemeClr val="accent4"/>
              </a:solidFill>
            </p:grpSpPr>
            <p:sp>
              <p:nvSpPr>
                <p:cNvPr id="204" name="Trapezoid 396"/>
                <p:cNvSpPr/>
                <p:nvPr/>
              </p:nvSpPr>
              <p:spPr>
                <a:xfrm>
                  <a:off x="8229799" y="2768458"/>
                  <a:ext cx="175040" cy="174908"/>
                </a:xfrm>
                <a:prstGeom prst="trapezoid">
                  <a:avLst/>
                </a:prstGeom>
                <a:solidFill>
                  <a:srgbClr val="FD9B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205" name="Trapezoid 397"/>
                <p:cNvSpPr/>
                <p:nvPr/>
              </p:nvSpPr>
              <p:spPr>
                <a:xfrm rot="10800000">
                  <a:off x="8229799" y="4634676"/>
                  <a:ext cx="175040" cy="174908"/>
                </a:xfrm>
                <a:prstGeom prst="trapezoid">
                  <a:avLst/>
                </a:prstGeom>
                <a:solidFill>
                  <a:srgbClr val="FD9B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200" name="Group 398"/>
              <p:cNvGrpSpPr/>
              <p:nvPr/>
            </p:nvGrpSpPr>
            <p:grpSpPr>
              <a:xfrm rot="9000000">
                <a:off x="11033173" y="2614418"/>
                <a:ext cx="175040" cy="2041126"/>
                <a:chOff x="8229799" y="2768458"/>
                <a:chExt cx="175040" cy="2041126"/>
              </a:xfrm>
              <a:solidFill>
                <a:schemeClr val="accent4"/>
              </a:solidFill>
            </p:grpSpPr>
            <p:sp>
              <p:nvSpPr>
                <p:cNvPr id="202" name="Trapezoid 399"/>
                <p:cNvSpPr/>
                <p:nvPr/>
              </p:nvSpPr>
              <p:spPr>
                <a:xfrm>
                  <a:off x="8229799" y="2768458"/>
                  <a:ext cx="175040" cy="174908"/>
                </a:xfrm>
                <a:prstGeom prst="trapezoid">
                  <a:avLst/>
                </a:prstGeom>
                <a:solidFill>
                  <a:srgbClr val="FD9B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203" name="Trapezoid 400"/>
                <p:cNvSpPr/>
                <p:nvPr/>
              </p:nvSpPr>
              <p:spPr>
                <a:xfrm rot="10800000">
                  <a:off x="8229799" y="4634676"/>
                  <a:ext cx="175040" cy="174908"/>
                </a:xfrm>
                <a:prstGeom prst="trapezoid">
                  <a:avLst/>
                </a:prstGeom>
                <a:solidFill>
                  <a:srgbClr val="FD9B0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01" name="Oval 401"/>
              <p:cNvSpPr>
                <a:spLocks noChangeAspect="1"/>
              </p:cNvSpPr>
              <p:nvPr/>
            </p:nvSpPr>
            <p:spPr>
              <a:xfrm>
                <a:off x="10414279" y="2934351"/>
                <a:ext cx="1408186" cy="1408186"/>
              </a:xfrm>
              <a:prstGeom prst="ellipse">
                <a:avLst/>
              </a:prstGeom>
              <a:solidFill>
                <a:schemeClr val="bg1"/>
              </a:solidFill>
              <a:ln w="76200">
                <a:solidFill>
                  <a:schemeClr val="accent4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214" name="Arc 21"/>
            <p:cNvSpPr/>
            <p:nvPr/>
          </p:nvSpPr>
          <p:spPr>
            <a:xfrm>
              <a:off x="1162763" y="2347216"/>
              <a:ext cx="1472651" cy="914400"/>
            </a:xfrm>
            <a:prstGeom prst="arc">
              <a:avLst>
                <a:gd name="adj1" fmla="val 11819633"/>
                <a:gd name="adj2" fmla="val 20612193"/>
              </a:avLst>
            </a:prstGeom>
            <a:ln w="57150">
              <a:solidFill>
                <a:schemeClr val="bg1">
                  <a:lumMod val="8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5" name="Arc 402"/>
            <p:cNvSpPr/>
            <p:nvPr/>
          </p:nvSpPr>
          <p:spPr>
            <a:xfrm>
              <a:off x="4238055" y="2347216"/>
              <a:ext cx="1472650" cy="914400"/>
            </a:xfrm>
            <a:prstGeom prst="arc">
              <a:avLst>
                <a:gd name="adj1" fmla="val 11819633"/>
                <a:gd name="adj2" fmla="val 20612193"/>
              </a:avLst>
            </a:prstGeom>
            <a:ln w="57150">
              <a:solidFill>
                <a:schemeClr val="bg1">
                  <a:lumMod val="8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6" name="Arc 403"/>
            <p:cNvSpPr/>
            <p:nvPr/>
          </p:nvSpPr>
          <p:spPr>
            <a:xfrm>
              <a:off x="7313348" y="2347216"/>
              <a:ext cx="1472650" cy="914400"/>
            </a:xfrm>
            <a:prstGeom prst="arc">
              <a:avLst>
                <a:gd name="adj1" fmla="val 11819633"/>
                <a:gd name="adj2" fmla="val 20612193"/>
              </a:avLst>
            </a:prstGeom>
            <a:ln w="57150">
              <a:solidFill>
                <a:schemeClr val="bg1">
                  <a:lumMod val="8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7" name="Arc 404"/>
            <p:cNvSpPr/>
            <p:nvPr/>
          </p:nvSpPr>
          <p:spPr>
            <a:xfrm rot="10800000">
              <a:off x="5738692" y="4476317"/>
              <a:ext cx="1472650" cy="914400"/>
            </a:xfrm>
            <a:prstGeom prst="arc">
              <a:avLst>
                <a:gd name="adj1" fmla="val 11819633"/>
                <a:gd name="adj2" fmla="val 20612193"/>
              </a:avLst>
            </a:prstGeom>
            <a:ln w="57150">
              <a:solidFill>
                <a:schemeClr val="bg1">
                  <a:lumMod val="85000"/>
                </a:schemeClr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8" name="Arc 405"/>
            <p:cNvSpPr/>
            <p:nvPr/>
          </p:nvSpPr>
          <p:spPr>
            <a:xfrm rot="10800000">
              <a:off x="2663399" y="4476317"/>
              <a:ext cx="1472650" cy="914400"/>
            </a:xfrm>
            <a:prstGeom prst="arc">
              <a:avLst>
                <a:gd name="adj1" fmla="val 11819633"/>
                <a:gd name="adj2" fmla="val 20612193"/>
              </a:avLst>
            </a:prstGeom>
            <a:ln w="57150">
              <a:solidFill>
                <a:schemeClr val="bg1">
                  <a:lumMod val="85000"/>
                </a:schemeClr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9" name="TextBox 218"/>
          <p:cNvSpPr txBox="1"/>
          <p:nvPr/>
        </p:nvSpPr>
        <p:spPr>
          <a:xfrm>
            <a:off x="201593" y="1641189"/>
            <a:ext cx="2933593" cy="738664"/>
          </a:xfrm>
          <a:prstGeom prst="rect">
            <a:avLst/>
          </a:prstGeom>
          <a:solidFill>
            <a:srgbClr val="008B94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Trebuchet MS" panose="020B0603020202020204" pitchFamily="34" charset="0"/>
              </a:rPr>
              <a:t>Обучение и развитие педагогов – обмен опытом и лучшими практиками </a:t>
            </a:r>
          </a:p>
        </p:txBody>
      </p:sp>
      <p:sp>
        <p:nvSpPr>
          <p:cNvPr id="220" name="TextBox 219"/>
          <p:cNvSpPr txBox="1"/>
          <p:nvPr/>
        </p:nvSpPr>
        <p:spPr>
          <a:xfrm>
            <a:off x="556054" y="5158272"/>
            <a:ext cx="3373711" cy="738664"/>
          </a:xfrm>
          <a:prstGeom prst="rect">
            <a:avLst/>
          </a:prstGeom>
          <a:solidFill>
            <a:srgbClr val="008B94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Trebuchet MS" panose="020B0603020202020204" pitchFamily="34" charset="0"/>
              </a:rPr>
              <a:t>Программы целевой подготовки и совместные образовательные и </a:t>
            </a:r>
            <a:r>
              <a:rPr lang="ru-RU" sz="1400" b="1" dirty="0" err="1">
                <a:solidFill>
                  <a:schemeClr val="bg1"/>
                </a:solidFill>
                <a:latin typeface="Trebuchet MS" panose="020B0603020202020204" pitchFamily="34" charset="0"/>
              </a:rPr>
              <a:t>профориентационные</a:t>
            </a:r>
            <a:r>
              <a:rPr lang="ru-RU" sz="1400" b="1" dirty="0">
                <a:solidFill>
                  <a:schemeClr val="bg1"/>
                </a:solidFill>
                <a:latin typeface="Trebuchet MS" panose="020B0603020202020204" pitchFamily="34" charset="0"/>
              </a:rPr>
              <a:t> модули </a:t>
            </a:r>
          </a:p>
        </p:txBody>
      </p:sp>
      <p:sp>
        <p:nvSpPr>
          <p:cNvPr id="221" name="TextBox 220"/>
          <p:cNvSpPr txBox="1"/>
          <p:nvPr/>
        </p:nvSpPr>
        <p:spPr>
          <a:xfrm>
            <a:off x="3405667" y="1606024"/>
            <a:ext cx="4662040" cy="954107"/>
          </a:xfrm>
          <a:prstGeom prst="rect">
            <a:avLst/>
          </a:prstGeom>
          <a:solidFill>
            <a:srgbClr val="008B94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Trebuchet MS" panose="020B0603020202020204" pitchFamily="34" charset="0"/>
              </a:rPr>
              <a:t>Отработка профессиональных компетенций и совершенствование профессионального мастерства на базе 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Trebuchet MS" panose="020B0603020202020204" pitchFamily="34" charset="0"/>
              </a:rPr>
              <a:t>СИБУР ТОБОЛЬСК  ООО ЗАБСИБНЕФТЕХИМ</a:t>
            </a:r>
          </a:p>
        </p:txBody>
      </p:sp>
      <p:sp>
        <p:nvSpPr>
          <p:cNvPr id="222" name="TextBox 221"/>
          <p:cNvSpPr txBox="1"/>
          <p:nvPr/>
        </p:nvSpPr>
        <p:spPr>
          <a:xfrm>
            <a:off x="8345742" y="1606024"/>
            <a:ext cx="3508324" cy="738664"/>
          </a:xfrm>
          <a:prstGeom prst="rect">
            <a:avLst/>
          </a:prstGeom>
          <a:solidFill>
            <a:srgbClr val="008B94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Trebuchet MS" panose="020B0603020202020204" pitchFamily="34" charset="0"/>
              </a:rPr>
              <a:t>Запуск совместных образовательных инициатив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Trebuchet MS" panose="020B0603020202020204" pitchFamily="34" charset="0"/>
              </a:rPr>
              <a:t> совместно с ЦНТЭ СИБУРИНТЕХ</a:t>
            </a:r>
          </a:p>
        </p:txBody>
      </p:sp>
      <p:sp>
        <p:nvSpPr>
          <p:cNvPr id="223" name="TextBox 222"/>
          <p:cNvSpPr txBox="1"/>
          <p:nvPr/>
        </p:nvSpPr>
        <p:spPr>
          <a:xfrm>
            <a:off x="164074" y="3258590"/>
            <a:ext cx="2640855" cy="523220"/>
          </a:xfrm>
          <a:prstGeom prst="rect">
            <a:avLst/>
          </a:prstGeom>
          <a:solidFill>
            <a:srgbClr val="008B94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1400" b="1" dirty="0" err="1">
                <a:solidFill>
                  <a:schemeClr val="bg1"/>
                </a:solidFill>
                <a:latin typeface="Trebuchet MS" panose="020B0603020202020204" pitchFamily="34" charset="0"/>
              </a:rPr>
              <a:t>Кванториум</a:t>
            </a:r>
            <a:r>
              <a:rPr lang="ru-RU" sz="1400" b="1" dirty="0">
                <a:solidFill>
                  <a:schemeClr val="bg1"/>
                </a:solidFill>
                <a:latin typeface="Trebuchet MS" panose="020B0603020202020204" pitchFamily="34" charset="0"/>
              </a:rPr>
              <a:t> , ДПО</a:t>
            </a:r>
          </a:p>
          <a:p>
            <a:endParaRPr lang="ru-RU" sz="1400" b="1" dirty="0">
              <a:solidFill>
                <a:schemeClr val="tx1">
                  <a:lumMod val="65000"/>
                  <a:lumOff val="35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224" name="TextBox 223"/>
          <p:cNvSpPr txBox="1"/>
          <p:nvPr/>
        </p:nvSpPr>
        <p:spPr>
          <a:xfrm>
            <a:off x="9345618" y="3235275"/>
            <a:ext cx="2640855" cy="523220"/>
          </a:xfrm>
          <a:prstGeom prst="rect">
            <a:avLst/>
          </a:prstGeom>
          <a:solidFill>
            <a:srgbClr val="008B94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Trebuchet MS" panose="020B0603020202020204" pitchFamily="34" charset="0"/>
              </a:rPr>
              <a:t>Взаимодействие с вузами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Trebuchet MS" panose="020B0603020202020204" pitchFamily="34" charset="0"/>
              </a:rPr>
              <a:t>Тюменской области</a:t>
            </a:r>
          </a:p>
        </p:txBody>
      </p:sp>
      <p:sp>
        <p:nvSpPr>
          <p:cNvPr id="225" name="TextBox 224"/>
          <p:cNvSpPr txBox="1"/>
          <p:nvPr/>
        </p:nvSpPr>
        <p:spPr>
          <a:xfrm>
            <a:off x="8131761" y="5179142"/>
            <a:ext cx="3785432" cy="954107"/>
          </a:xfrm>
          <a:prstGeom prst="rect">
            <a:avLst/>
          </a:prstGeom>
          <a:solidFill>
            <a:srgbClr val="008B94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Trebuchet MS" panose="020B0603020202020204" pitchFamily="34" charset="0"/>
              </a:rPr>
              <a:t>Сетевое взаимодействие и ресурсное сопровождение – совместные инвестиции в улучшение материально-технической базы </a:t>
            </a:r>
          </a:p>
        </p:txBody>
      </p:sp>
      <p:pic>
        <p:nvPicPr>
          <p:cNvPr id="226" name="Рисунок 225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1654" y="95856"/>
            <a:ext cx="694660" cy="664192"/>
          </a:xfrm>
          <a:prstGeom prst="rect">
            <a:avLst/>
          </a:prstGeom>
        </p:spPr>
      </p:pic>
      <p:sp>
        <p:nvSpPr>
          <p:cNvPr id="228" name="TextBox 227">
            <a:extLst>
              <a:ext uri="{FF2B5EF4-FFF2-40B4-BE49-F238E27FC236}">
                <a16:creationId xmlns:a16="http://schemas.microsoft.com/office/drawing/2014/main" xmlns="" id="{08378D45-7AA7-A849-A7BF-F1F979266E38}"/>
              </a:ext>
            </a:extLst>
          </p:cNvPr>
          <p:cNvSpPr txBox="1"/>
          <p:nvPr/>
        </p:nvSpPr>
        <p:spPr>
          <a:xfrm>
            <a:off x="145007" y="4224613"/>
            <a:ext cx="2668616" cy="523220"/>
          </a:xfrm>
          <a:prstGeom prst="rect">
            <a:avLst/>
          </a:prstGeom>
          <a:solidFill>
            <a:srgbClr val="008B94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Trebuchet MS" panose="020B0603020202020204" pitchFamily="34" charset="0"/>
              </a:rPr>
              <a:t> Орган управлением </a:t>
            </a:r>
            <a:r>
              <a:rPr lang="ru-RU" sz="1400" b="1" dirty="0" err="1">
                <a:solidFill>
                  <a:schemeClr val="bg1"/>
                </a:solidFill>
                <a:latin typeface="Trebuchet MS" panose="020B0603020202020204" pitchFamily="34" charset="0"/>
              </a:rPr>
              <a:t>образованием,ОО,ДОО</a:t>
            </a:r>
            <a:r>
              <a:rPr lang="ru-RU" sz="1400" b="1" dirty="0">
                <a:solidFill>
                  <a:schemeClr val="bg1"/>
                </a:solidFill>
                <a:latin typeface="Trebuchet MS" panose="020B0603020202020204" pitchFamily="34" charset="0"/>
              </a:rPr>
              <a:t>.</a:t>
            </a:r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xmlns="" id="{528ACC12-5349-DD46-8D7A-904B5A09BE60}"/>
              </a:ext>
            </a:extLst>
          </p:cNvPr>
          <p:cNvSpPr txBox="1"/>
          <p:nvPr/>
        </p:nvSpPr>
        <p:spPr>
          <a:xfrm>
            <a:off x="9345618" y="4288794"/>
            <a:ext cx="2292483" cy="738664"/>
          </a:xfrm>
          <a:prstGeom prst="rect">
            <a:avLst/>
          </a:prstGeom>
          <a:solidFill>
            <a:srgbClr val="008B94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Trebuchet MS" panose="020B0603020202020204" pitchFamily="34" charset="0"/>
              </a:rPr>
              <a:t>ОПОРА РОССИИ представительство 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Trebuchet MS" panose="020B0603020202020204" pitchFamily="34" charset="0"/>
              </a:rPr>
              <a:t>в Тюменской области</a:t>
            </a:r>
          </a:p>
        </p:txBody>
      </p:sp>
    </p:spTree>
    <p:extLst>
      <p:ext uri="{BB962C8B-B14F-4D97-AF65-F5344CB8AC3E}">
        <p14:creationId xmlns:p14="http://schemas.microsoft.com/office/powerpoint/2010/main" val="12003075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0" y="4581525"/>
            <a:ext cx="12182430" cy="847725"/>
          </a:xfrm>
          <a:prstGeom prst="rect">
            <a:avLst/>
          </a:prstGeom>
          <a:solidFill>
            <a:srgbClr val="0E80A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E80A5"/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317462" y="95250"/>
            <a:ext cx="847843" cy="581106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521025" y="465936"/>
            <a:ext cx="106650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E80A5"/>
                </a:solidFill>
                <a:latin typeface="Trebuchet MS" panose="020B0603020202020204" pitchFamily="34" charset="0"/>
              </a:rPr>
              <a:t>КАЧЕСТВЕННАЯ ПОДГОТОВКА ВЫПУСКНИКОВ ПРОЕКТА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0797058" y="6550223"/>
            <a:ext cx="13682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400" dirty="0">
                <a:solidFill>
                  <a:srgbClr val="0E80A5"/>
                </a:solidFill>
                <a:latin typeface="Trebuchet MS" panose="020B0603020202020204" pitchFamily="34" charset="0"/>
              </a:rPr>
              <a:t>5</a:t>
            </a:r>
          </a:p>
        </p:txBody>
      </p:sp>
      <p:pic>
        <p:nvPicPr>
          <p:cNvPr id="41" name="Picture 4" descr="https://upload.wikimedia.org/wikipedia/ru/f/f0/Sibur_logo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16314" y="118030"/>
            <a:ext cx="1401148" cy="4685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6" name="Группа 45"/>
          <p:cNvGrpSpPr/>
          <p:nvPr/>
        </p:nvGrpSpPr>
        <p:grpSpPr>
          <a:xfrm>
            <a:off x="2142244" y="1891877"/>
            <a:ext cx="7471494" cy="2079613"/>
            <a:chOff x="946258" y="451456"/>
            <a:chExt cx="6388926" cy="1724171"/>
          </a:xfrm>
        </p:grpSpPr>
        <p:sp>
          <p:nvSpPr>
            <p:cNvPr id="54" name="Textfeld 19"/>
            <p:cNvSpPr txBox="1"/>
            <p:nvPr/>
          </p:nvSpPr>
          <p:spPr bwMode="gray">
            <a:xfrm>
              <a:off x="3082772" y="1964520"/>
              <a:ext cx="1808497" cy="14034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1167711">
                <a:defRPr/>
              </a:pPr>
              <a:r>
                <a:rPr lang="ru-RU" sz="1100" kern="0" dirty="0">
                  <a:solidFill>
                    <a:srgbClr val="646464"/>
                  </a:solidFill>
                  <a:latin typeface="Trebuchet MS" panose="020B0603020202020204" pitchFamily="34" charset="0"/>
                </a:rPr>
                <a:t>Английский язык</a:t>
              </a:r>
              <a:endParaRPr lang="en-US" sz="1100" kern="0" dirty="0">
                <a:solidFill>
                  <a:srgbClr val="646464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55" name="Textfeld 22"/>
            <p:cNvSpPr txBox="1"/>
            <p:nvPr/>
          </p:nvSpPr>
          <p:spPr bwMode="gray">
            <a:xfrm>
              <a:off x="1817436" y="2042387"/>
              <a:ext cx="2560320" cy="115150"/>
            </a:xfrm>
            <a:prstGeom prst="rect">
              <a:avLst/>
            </a:prstGeom>
            <a:noFill/>
            <a:effectLst/>
          </p:spPr>
          <p:txBody>
            <a:bodyPr wrap="square" lIns="0" tIns="0" rIns="0" bIns="0" rtlCol="0">
              <a:spAutoFit/>
            </a:bodyPr>
            <a:lstStyle/>
            <a:p>
              <a:pPr defTabSz="1167711">
                <a:defRPr/>
              </a:pPr>
              <a:r>
                <a:rPr lang="ru-RU" sz="1100" kern="0" dirty="0">
                  <a:solidFill>
                    <a:srgbClr val="646464"/>
                  </a:solidFill>
                  <a:latin typeface="Trebuchet MS" panose="020B0603020202020204" pitchFamily="34" charset="0"/>
                </a:rPr>
                <a:t>Критическое мышление</a:t>
              </a:r>
              <a:endParaRPr lang="en-US" sz="1100" kern="0" dirty="0">
                <a:solidFill>
                  <a:srgbClr val="646464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56" name="Rechteck 720"/>
            <p:cNvSpPr/>
            <p:nvPr/>
          </p:nvSpPr>
          <p:spPr bwMode="gray">
            <a:xfrm>
              <a:off x="4647339" y="451456"/>
              <a:ext cx="2298574" cy="35724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1167711">
                <a:defRPr/>
              </a:pPr>
              <a:r>
                <a:rPr lang="ru-RU" sz="1100" kern="0" dirty="0">
                  <a:solidFill>
                    <a:srgbClr val="646464"/>
                  </a:solidFill>
                  <a:latin typeface="Trebuchet MS" panose="020B0603020202020204" pitchFamily="34" charset="0"/>
                </a:rPr>
                <a:t>Первичные профессиональные навыки</a:t>
              </a:r>
              <a:endParaRPr lang="en-US" sz="1100" kern="0" dirty="0">
                <a:solidFill>
                  <a:srgbClr val="646464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58" name="Rechteck 723"/>
            <p:cNvSpPr/>
            <p:nvPr/>
          </p:nvSpPr>
          <p:spPr bwMode="gray">
            <a:xfrm>
              <a:off x="4876500" y="1940640"/>
              <a:ext cx="1808619" cy="21689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1167711">
                <a:defRPr/>
              </a:pPr>
              <a:endParaRPr lang="en-US" sz="1100" kern="0" dirty="0">
                <a:solidFill>
                  <a:srgbClr val="646464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59" name="Textfeld 724"/>
            <p:cNvSpPr txBox="1"/>
            <p:nvPr/>
          </p:nvSpPr>
          <p:spPr bwMode="gray">
            <a:xfrm>
              <a:off x="4876500" y="2060477"/>
              <a:ext cx="2458684" cy="115150"/>
            </a:xfrm>
            <a:prstGeom prst="rect">
              <a:avLst/>
            </a:prstGeom>
            <a:noFill/>
            <a:effectLst/>
          </p:spPr>
          <p:txBody>
            <a:bodyPr wrap="square" lIns="0" tIns="0" rIns="0" bIns="0" rtlCol="0">
              <a:spAutoFit/>
            </a:bodyPr>
            <a:lstStyle/>
            <a:p>
              <a:pPr defTabSz="1167711">
                <a:defRPr/>
              </a:pPr>
              <a:r>
                <a:rPr lang="ru-RU" sz="1100" kern="0" dirty="0">
                  <a:solidFill>
                    <a:srgbClr val="646464"/>
                  </a:solidFill>
                  <a:latin typeface="Trebuchet MS" panose="020B0603020202020204" pitchFamily="34" charset="0"/>
                </a:rPr>
                <a:t>Проектный менеджмент</a:t>
              </a:r>
              <a:endParaRPr lang="en-US" sz="1100" kern="0" dirty="0">
                <a:solidFill>
                  <a:srgbClr val="646464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60" name="Textfeld 725"/>
            <p:cNvSpPr txBox="1"/>
            <p:nvPr/>
          </p:nvSpPr>
          <p:spPr bwMode="gray">
            <a:xfrm>
              <a:off x="1296508" y="1622982"/>
              <a:ext cx="1813441" cy="2168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 defTabSz="1167711">
                <a:defRPr/>
              </a:pPr>
              <a:r>
                <a:rPr lang="ru-RU" sz="1100" kern="0" dirty="0">
                  <a:solidFill>
                    <a:srgbClr val="646464"/>
                  </a:solidFill>
                  <a:latin typeface="Trebuchet MS" panose="020B0603020202020204" pitchFamily="34" charset="0"/>
                </a:rPr>
                <a:t>Самостоятельность решений</a:t>
              </a:r>
              <a:endParaRPr lang="en-US" sz="1100" kern="0" dirty="0">
                <a:solidFill>
                  <a:srgbClr val="646464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61" name="Rechteck 727"/>
            <p:cNvSpPr/>
            <p:nvPr/>
          </p:nvSpPr>
          <p:spPr bwMode="gray">
            <a:xfrm>
              <a:off x="946258" y="659613"/>
              <a:ext cx="2298574" cy="17795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defTabSz="1167711">
                <a:defRPr/>
              </a:pPr>
              <a:r>
                <a:rPr lang="ru-RU" sz="1100" kern="0" dirty="0">
                  <a:solidFill>
                    <a:srgbClr val="646464"/>
                  </a:solidFill>
                  <a:latin typeface="Trebuchet MS" panose="020B0603020202020204" pitchFamily="34" charset="0"/>
                </a:rPr>
                <a:t>Цифровые компетенции</a:t>
              </a:r>
              <a:endParaRPr lang="en-US" sz="1100" kern="0" dirty="0">
                <a:solidFill>
                  <a:srgbClr val="646464"/>
                </a:solidFill>
                <a:latin typeface="Trebuchet MS" panose="020B0603020202020204" pitchFamily="34" charset="0"/>
              </a:endParaRPr>
            </a:p>
          </p:txBody>
        </p:sp>
        <p:grpSp>
          <p:nvGrpSpPr>
            <p:cNvPr id="69" name="Group 7"/>
            <p:cNvGrpSpPr/>
            <p:nvPr/>
          </p:nvGrpSpPr>
          <p:grpSpPr>
            <a:xfrm>
              <a:off x="3192670" y="502044"/>
              <a:ext cx="1512260" cy="1244622"/>
              <a:chOff x="3186608" y="2338161"/>
              <a:chExt cx="2567832" cy="2026429"/>
            </a:xfrm>
          </p:grpSpPr>
          <p:grpSp>
            <p:nvGrpSpPr>
              <p:cNvPr id="72" name="Gruppieren 576"/>
              <p:cNvGrpSpPr/>
              <p:nvPr/>
            </p:nvGrpSpPr>
            <p:grpSpPr bwMode="gray">
              <a:xfrm>
                <a:off x="3186608" y="2553481"/>
                <a:ext cx="665432" cy="1811109"/>
                <a:chOff x="5421312" y="6054726"/>
                <a:chExt cx="7518401" cy="20462875"/>
              </a:xfrm>
            </p:grpSpPr>
            <p:sp>
              <p:nvSpPr>
                <p:cNvPr id="215" name="Freeform 226"/>
                <p:cNvSpPr>
                  <a:spLocks/>
                </p:cNvSpPr>
                <p:nvPr/>
              </p:nvSpPr>
              <p:spPr bwMode="gray">
                <a:xfrm>
                  <a:off x="5421312" y="16295683"/>
                  <a:ext cx="4440242" cy="9461505"/>
                </a:xfrm>
                <a:custGeom>
                  <a:avLst/>
                  <a:gdLst/>
                  <a:ahLst/>
                  <a:cxnLst>
                    <a:cxn ang="0">
                      <a:pos x="603" y="921"/>
                    </a:cxn>
                    <a:cxn ang="0">
                      <a:pos x="573" y="1072"/>
                    </a:cxn>
                    <a:cxn ang="0">
                      <a:pos x="535" y="1247"/>
                    </a:cxn>
                    <a:cxn ang="0">
                      <a:pos x="467" y="1567"/>
                    </a:cxn>
                    <a:cxn ang="0">
                      <a:pos x="377" y="1862"/>
                    </a:cxn>
                    <a:cxn ang="0">
                      <a:pos x="337" y="2019"/>
                    </a:cxn>
                    <a:cxn ang="0">
                      <a:pos x="185" y="2359"/>
                    </a:cxn>
                    <a:cxn ang="0">
                      <a:pos x="20" y="2519"/>
                    </a:cxn>
                    <a:cxn ang="0">
                      <a:pos x="321" y="2434"/>
                    </a:cxn>
                    <a:cxn ang="0">
                      <a:pos x="398" y="2322"/>
                    </a:cxn>
                    <a:cxn ang="0">
                      <a:pos x="514" y="2249"/>
                    </a:cxn>
                    <a:cxn ang="0">
                      <a:pos x="559" y="1944"/>
                    </a:cxn>
                    <a:cxn ang="0">
                      <a:pos x="726" y="1664"/>
                    </a:cxn>
                    <a:cxn ang="0">
                      <a:pos x="860" y="1284"/>
                    </a:cxn>
                    <a:cxn ang="0">
                      <a:pos x="946" y="951"/>
                    </a:cxn>
                    <a:cxn ang="0">
                      <a:pos x="1164" y="269"/>
                    </a:cxn>
                    <a:cxn ang="0">
                      <a:pos x="1184" y="202"/>
                    </a:cxn>
                    <a:cxn ang="0">
                      <a:pos x="625" y="277"/>
                    </a:cxn>
                    <a:cxn ang="0">
                      <a:pos x="603" y="898"/>
                    </a:cxn>
                  </a:cxnLst>
                  <a:rect l="0" t="0" r="r" b="b"/>
                  <a:pathLst>
                    <a:path w="1184" h="2523">
                      <a:moveTo>
                        <a:pt x="603" y="921"/>
                      </a:moveTo>
                      <a:cubicBezTo>
                        <a:pt x="578" y="960"/>
                        <a:pt x="578" y="1023"/>
                        <a:pt x="573" y="1072"/>
                      </a:cubicBezTo>
                      <a:cubicBezTo>
                        <a:pt x="566" y="1133"/>
                        <a:pt x="550" y="1187"/>
                        <a:pt x="535" y="1247"/>
                      </a:cubicBezTo>
                      <a:cubicBezTo>
                        <a:pt x="508" y="1354"/>
                        <a:pt x="489" y="1457"/>
                        <a:pt x="467" y="1567"/>
                      </a:cubicBezTo>
                      <a:cubicBezTo>
                        <a:pt x="445" y="1672"/>
                        <a:pt x="394" y="1752"/>
                        <a:pt x="377" y="1862"/>
                      </a:cubicBezTo>
                      <a:cubicBezTo>
                        <a:pt x="369" y="1917"/>
                        <a:pt x="366" y="1969"/>
                        <a:pt x="337" y="2019"/>
                      </a:cubicBezTo>
                      <a:cubicBezTo>
                        <a:pt x="309" y="2069"/>
                        <a:pt x="221" y="2300"/>
                        <a:pt x="185" y="2359"/>
                      </a:cubicBezTo>
                      <a:cubicBezTo>
                        <a:pt x="149" y="2417"/>
                        <a:pt x="0" y="2443"/>
                        <a:pt x="20" y="2519"/>
                      </a:cubicBezTo>
                      <a:cubicBezTo>
                        <a:pt x="142" y="2523"/>
                        <a:pt x="235" y="2515"/>
                        <a:pt x="321" y="2434"/>
                      </a:cubicBezTo>
                      <a:cubicBezTo>
                        <a:pt x="356" y="2402"/>
                        <a:pt x="367" y="2356"/>
                        <a:pt x="398" y="2322"/>
                      </a:cubicBezTo>
                      <a:cubicBezTo>
                        <a:pt x="428" y="2290"/>
                        <a:pt x="483" y="2282"/>
                        <a:pt x="514" y="2249"/>
                      </a:cubicBezTo>
                      <a:cubicBezTo>
                        <a:pt x="587" y="2168"/>
                        <a:pt x="500" y="2041"/>
                        <a:pt x="559" y="1944"/>
                      </a:cubicBezTo>
                      <a:cubicBezTo>
                        <a:pt x="619" y="1846"/>
                        <a:pt x="677" y="1766"/>
                        <a:pt x="726" y="1664"/>
                      </a:cubicBezTo>
                      <a:cubicBezTo>
                        <a:pt x="784" y="1543"/>
                        <a:pt x="843" y="1422"/>
                        <a:pt x="860" y="1284"/>
                      </a:cubicBezTo>
                      <a:cubicBezTo>
                        <a:pt x="876" y="1164"/>
                        <a:pt x="918" y="1070"/>
                        <a:pt x="946" y="951"/>
                      </a:cubicBezTo>
                      <a:cubicBezTo>
                        <a:pt x="1001" y="713"/>
                        <a:pt x="1099" y="503"/>
                        <a:pt x="1164" y="269"/>
                      </a:cubicBezTo>
                      <a:cubicBezTo>
                        <a:pt x="1170" y="246"/>
                        <a:pt x="1182" y="226"/>
                        <a:pt x="1184" y="202"/>
                      </a:cubicBezTo>
                      <a:cubicBezTo>
                        <a:pt x="1012" y="178"/>
                        <a:pt x="664" y="0"/>
                        <a:pt x="625" y="277"/>
                      </a:cubicBezTo>
                      <a:cubicBezTo>
                        <a:pt x="597" y="482"/>
                        <a:pt x="676" y="704"/>
                        <a:pt x="603" y="898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16" name="Freeform 227"/>
                <p:cNvSpPr>
                  <a:spLocks/>
                </p:cNvSpPr>
                <p:nvPr/>
              </p:nvSpPr>
              <p:spPr bwMode="gray">
                <a:xfrm>
                  <a:off x="9985375" y="16981488"/>
                  <a:ext cx="1668463" cy="9536113"/>
                </a:xfrm>
                <a:custGeom>
                  <a:avLst/>
                  <a:gdLst/>
                  <a:ahLst/>
                  <a:cxnLst>
                    <a:cxn ang="0">
                      <a:pos x="83" y="783"/>
                    </a:cxn>
                    <a:cxn ang="0">
                      <a:pos x="145" y="1141"/>
                    </a:cxn>
                    <a:cxn ang="0">
                      <a:pos x="152" y="1554"/>
                    </a:cxn>
                    <a:cxn ang="0">
                      <a:pos x="159" y="1920"/>
                    </a:cxn>
                    <a:cxn ang="0">
                      <a:pos x="129" y="2102"/>
                    </a:cxn>
                    <a:cxn ang="0">
                      <a:pos x="127" y="2260"/>
                    </a:cxn>
                    <a:cxn ang="0">
                      <a:pos x="233" y="2436"/>
                    </a:cxn>
                    <a:cxn ang="0">
                      <a:pos x="289" y="2436"/>
                    </a:cxn>
                    <a:cxn ang="0">
                      <a:pos x="342" y="2406"/>
                    </a:cxn>
                    <a:cxn ang="0">
                      <a:pos x="333" y="2071"/>
                    </a:cxn>
                    <a:cxn ang="0">
                      <a:pos x="341" y="1715"/>
                    </a:cxn>
                    <a:cxn ang="0">
                      <a:pos x="409" y="1346"/>
                    </a:cxn>
                    <a:cxn ang="0">
                      <a:pos x="439" y="972"/>
                    </a:cxn>
                    <a:cxn ang="0">
                      <a:pos x="409" y="768"/>
                    </a:cxn>
                    <a:cxn ang="0">
                      <a:pos x="328" y="512"/>
                    </a:cxn>
                    <a:cxn ang="0">
                      <a:pos x="218" y="19"/>
                    </a:cxn>
                    <a:cxn ang="0">
                      <a:pos x="16" y="4"/>
                    </a:cxn>
                    <a:cxn ang="0">
                      <a:pos x="106" y="775"/>
                    </a:cxn>
                  </a:cxnLst>
                  <a:rect l="0" t="0" r="r" b="b"/>
                  <a:pathLst>
                    <a:path w="445" h="2543">
                      <a:moveTo>
                        <a:pt x="83" y="783"/>
                      </a:moveTo>
                      <a:cubicBezTo>
                        <a:pt x="84" y="915"/>
                        <a:pt x="158" y="1002"/>
                        <a:pt x="145" y="1141"/>
                      </a:cubicBezTo>
                      <a:cubicBezTo>
                        <a:pt x="131" y="1290"/>
                        <a:pt x="117" y="1404"/>
                        <a:pt x="152" y="1554"/>
                      </a:cubicBezTo>
                      <a:cubicBezTo>
                        <a:pt x="176" y="1660"/>
                        <a:pt x="185" y="1822"/>
                        <a:pt x="159" y="1920"/>
                      </a:cubicBezTo>
                      <a:cubicBezTo>
                        <a:pt x="145" y="1971"/>
                        <a:pt x="129" y="2042"/>
                        <a:pt x="129" y="2102"/>
                      </a:cubicBezTo>
                      <a:cubicBezTo>
                        <a:pt x="128" y="2162"/>
                        <a:pt x="122" y="2200"/>
                        <a:pt x="127" y="2260"/>
                      </a:cubicBezTo>
                      <a:cubicBezTo>
                        <a:pt x="128" y="2282"/>
                        <a:pt x="119" y="2543"/>
                        <a:pt x="233" y="2436"/>
                      </a:cubicBezTo>
                      <a:cubicBezTo>
                        <a:pt x="248" y="2466"/>
                        <a:pt x="274" y="2466"/>
                        <a:pt x="289" y="2436"/>
                      </a:cubicBezTo>
                      <a:cubicBezTo>
                        <a:pt x="319" y="2459"/>
                        <a:pt x="339" y="2444"/>
                        <a:pt x="342" y="2406"/>
                      </a:cubicBezTo>
                      <a:cubicBezTo>
                        <a:pt x="411" y="2404"/>
                        <a:pt x="342" y="2131"/>
                        <a:pt x="333" y="2071"/>
                      </a:cubicBezTo>
                      <a:cubicBezTo>
                        <a:pt x="314" y="1937"/>
                        <a:pt x="294" y="1848"/>
                        <a:pt x="341" y="1715"/>
                      </a:cubicBezTo>
                      <a:cubicBezTo>
                        <a:pt x="382" y="1598"/>
                        <a:pt x="408" y="1477"/>
                        <a:pt x="409" y="1346"/>
                      </a:cubicBezTo>
                      <a:cubicBezTo>
                        <a:pt x="410" y="1216"/>
                        <a:pt x="445" y="1098"/>
                        <a:pt x="439" y="972"/>
                      </a:cubicBezTo>
                      <a:cubicBezTo>
                        <a:pt x="436" y="903"/>
                        <a:pt x="412" y="839"/>
                        <a:pt x="409" y="768"/>
                      </a:cubicBezTo>
                      <a:cubicBezTo>
                        <a:pt x="405" y="674"/>
                        <a:pt x="359" y="600"/>
                        <a:pt x="328" y="512"/>
                      </a:cubicBezTo>
                      <a:cubicBezTo>
                        <a:pt x="271" y="351"/>
                        <a:pt x="313" y="167"/>
                        <a:pt x="218" y="19"/>
                      </a:cubicBezTo>
                      <a:cubicBezTo>
                        <a:pt x="154" y="5"/>
                        <a:pt x="85" y="0"/>
                        <a:pt x="16" y="4"/>
                      </a:cubicBezTo>
                      <a:cubicBezTo>
                        <a:pt x="0" y="274"/>
                        <a:pt x="106" y="510"/>
                        <a:pt x="106" y="775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17" name="Freeform 228"/>
                <p:cNvSpPr>
                  <a:spLocks/>
                </p:cNvSpPr>
                <p:nvPr/>
              </p:nvSpPr>
              <p:spPr bwMode="gray">
                <a:xfrm>
                  <a:off x="7629525" y="18586451"/>
                  <a:ext cx="1477963" cy="1970088"/>
                </a:xfrm>
                <a:custGeom>
                  <a:avLst/>
                  <a:gdLst/>
                  <a:ahLst/>
                  <a:cxnLst>
                    <a:cxn ang="0">
                      <a:pos x="6" y="313"/>
                    </a:cxn>
                    <a:cxn ang="0">
                      <a:pos x="165" y="407"/>
                    </a:cxn>
                    <a:cxn ang="0">
                      <a:pos x="250" y="449"/>
                    </a:cxn>
                    <a:cxn ang="0">
                      <a:pos x="297" y="525"/>
                    </a:cxn>
                    <a:cxn ang="0">
                      <a:pos x="325" y="454"/>
                    </a:cxn>
                    <a:cxn ang="0">
                      <a:pos x="348" y="374"/>
                    </a:cxn>
                    <a:cxn ang="0">
                      <a:pos x="378" y="104"/>
                    </a:cxn>
                    <a:cxn ang="0">
                      <a:pos x="191" y="44"/>
                    </a:cxn>
                    <a:cxn ang="0">
                      <a:pos x="78" y="204"/>
                    </a:cxn>
                    <a:cxn ang="0">
                      <a:pos x="10" y="313"/>
                    </a:cxn>
                  </a:cxnLst>
                  <a:rect l="0" t="0" r="r" b="b"/>
                  <a:pathLst>
                    <a:path w="394" h="525">
                      <a:moveTo>
                        <a:pt x="6" y="313"/>
                      </a:moveTo>
                      <a:cubicBezTo>
                        <a:pt x="0" y="353"/>
                        <a:pt x="134" y="395"/>
                        <a:pt x="165" y="407"/>
                      </a:cubicBezTo>
                      <a:cubicBezTo>
                        <a:pt x="195" y="418"/>
                        <a:pt x="227" y="429"/>
                        <a:pt x="250" y="449"/>
                      </a:cubicBezTo>
                      <a:cubicBezTo>
                        <a:pt x="275" y="471"/>
                        <a:pt x="276" y="505"/>
                        <a:pt x="297" y="525"/>
                      </a:cubicBezTo>
                      <a:cubicBezTo>
                        <a:pt x="300" y="500"/>
                        <a:pt x="316" y="477"/>
                        <a:pt x="325" y="454"/>
                      </a:cubicBezTo>
                      <a:cubicBezTo>
                        <a:pt x="334" y="429"/>
                        <a:pt x="341" y="400"/>
                        <a:pt x="348" y="374"/>
                      </a:cubicBezTo>
                      <a:cubicBezTo>
                        <a:pt x="369" y="300"/>
                        <a:pt x="394" y="182"/>
                        <a:pt x="378" y="104"/>
                      </a:cubicBezTo>
                      <a:cubicBezTo>
                        <a:pt x="361" y="26"/>
                        <a:pt x="248" y="0"/>
                        <a:pt x="191" y="44"/>
                      </a:cubicBezTo>
                      <a:cubicBezTo>
                        <a:pt x="139" y="84"/>
                        <a:pt x="110" y="153"/>
                        <a:pt x="78" y="204"/>
                      </a:cubicBezTo>
                      <a:cubicBezTo>
                        <a:pt x="59" y="236"/>
                        <a:pt x="17" y="278"/>
                        <a:pt x="10" y="313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18" name="Freeform 229"/>
                <p:cNvSpPr>
                  <a:spLocks/>
                </p:cNvSpPr>
                <p:nvPr/>
              </p:nvSpPr>
              <p:spPr bwMode="gray">
                <a:xfrm>
                  <a:off x="10153650" y="18624551"/>
                  <a:ext cx="1474788" cy="1819275"/>
                </a:xfrm>
                <a:custGeom>
                  <a:avLst/>
                  <a:gdLst/>
                  <a:ahLst/>
                  <a:cxnLst>
                    <a:cxn ang="0">
                      <a:pos x="68" y="485"/>
                    </a:cxn>
                    <a:cxn ang="0">
                      <a:pos x="179" y="387"/>
                    </a:cxn>
                    <a:cxn ang="0">
                      <a:pos x="340" y="348"/>
                    </a:cxn>
                    <a:cxn ang="0">
                      <a:pos x="296" y="164"/>
                    </a:cxn>
                    <a:cxn ang="0">
                      <a:pos x="54" y="81"/>
                    </a:cxn>
                    <a:cxn ang="0">
                      <a:pos x="39" y="303"/>
                    </a:cxn>
                    <a:cxn ang="0">
                      <a:pos x="68" y="485"/>
                    </a:cxn>
                  </a:cxnLst>
                  <a:rect l="0" t="0" r="r" b="b"/>
                  <a:pathLst>
                    <a:path w="393" h="485">
                      <a:moveTo>
                        <a:pt x="68" y="485"/>
                      </a:moveTo>
                      <a:cubicBezTo>
                        <a:pt x="77" y="453"/>
                        <a:pt x="153" y="401"/>
                        <a:pt x="179" y="387"/>
                      </a:cubicBezTo>
                      <a:cubicBezTo>
                        <a:pt x="227" y="362"/>
                        <a:pt x="294" y="374"/>
                        <a:pt x="340" y="348"/>
                      </a:cubicBezTo>
                      <a:cubicBezTo>
                        <a:pt x="393" y="318"/>
                        <a:pt x="327" y="203"/>
                        <a:pt x="296" y="164"/>
                      </a:cubicBezTo>
                      <a:cubicBezTo>
                        <a:pt x="242" y="95"/>
                        <a:pt x="141" y="0"/>
                        <a:pt x="54" y="81"/>
                      </a:cubicBezTo>
                      <a:cubicBezTo>
                        <a:pt x="0" y="131"/>
                        <a:pt x="32" y="240"/>
                        <a:pt x="39" y="303"/>
                      </a:cubicBezTo>
                      <a:cubicBezTo>
                        <a:pt x="45" y="357"/>
                        <a:pt x="33" y="443"/>
                        <a:pt x="68" y="485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19" name="Freeform 230"/>
                <p:cNvSpPr>
                  <a:spLocks/>
                </p:cNvSpPr>
                <p:nvPr/>
              </p:nvSpPr>
              <p:spPr bwMode="gray">
                <a:xfrm>
                  <a:off x="7488237" y="13198476"/>
                  <a:ext cx="4435475" cy="6934200"/>
                </a:xfrm>
                <a:custGeom>
                  <a:avLst/>
                  <a:gdLst/>
                  <a:ahLst/>
                  <a:cxnLst>
                    <a:cxn ang="0">
                      <a:pos x="143" y="526"/>
                    </a:cxn>
                    <a:cxn ang="0">
                      <a:pos x="82" y="1125"/>
                    </a:cxn>
                    <a:cxn ang="0">
                      <a:pos x="38" y="1760"/>
                    </a:cxn>
                    <a:cxn ang="0">
                      <a:pos x="816" y="1806"/>
                    </a:cxn>
                    <a:cxn ang="0">
                      <a:pos x="1120" y="1731"/>
                    </a:cxn>
                    <a:cxn ang="0">
                      <a:pos x="1113" y="1527"/>
                    </a:cxn>
                    <a:cxn ang="0">
                      <a:pos x="1105" y="1330"/>
                    </a:cxn>
                    <a:cxn ang="0">
                      <a:pos x="1128" y="701"/>
                    </a:cxn>
                    <a:cxn ang="0">
                      <a:pos x="892" y="96"/>
                    </a:cxn>
                    <a:cxn ang="0">
                      <a:pos x="567" y="3"/>
                    </a:cxn>
                    <a:cxn ang="0">
                      <a:pos x="289" y="73"/>
                    </a:cxn>
                    <a:cxn ang="0">
                      <a:pos x="210" y="313"/>
                    </a:cxn>
                    <a:cxn ang="0">
                      <a:pos x="143" y="526"/>
                    </a:cxn>
                  </a:cxnLst>
                  <a:rect l="0" t="0" r="r" b="b"/>
                  <a:pathLst>
                    <a:path w="1183" h="1849">
                      <a:moveTo>
                        <a:pt x="143" y="526"/>
                      </a:moveTo>
                      <a:cubicBezTo>
                        <a:pt x="123" y="723"/>
                        <a:pt x="99" y="926"/>
                        <a:pt x="82" y="1125"/>
                      </a:cubicBezTo>
                      <a:cubicBezTo>
                        <a:pt x="65" y="1320"/>
                        <a:pt x="0" y="1562"/>
                        <a:pt x="38" y="1760"/>
                      </a:cubicBezTo>
                      <a:cubicBezTo>
                        <a:pt x="277" y="1849"/>
                        <a:pt x="564" y="1829"/>
                        <a:pt x="816" y="1806"/>
                      </a:cubicBezTo>
                      <a:cubicBezTo>
                        <a:pt x="893" y="1798"/>
                        <a:pt x="1090" y="1805"/>
                        <a:pt x="1120" y="1731"/>
                      </a:cubicBezTo>
                      <a:cubicBezTo>
                        <a:pt x="1142" y="1680"/>
                        <a:pt x="1116" y="1580"/>
                        <a:pt x="1113" y="1527"/>
                      </a:cubicBezTo>
                      <a:cubicBezTo>
                        <a:pt x="1109" y="1461"/>
                        <a:pt x="1108" y="1392"/>
                        <a:pt x="1105" y="1330"/>
                      </a:cubicBezTo>
                      <a:cubicBezTo>
                        <a:pt x="1095" y="1122"/>
                        <a:pt x="1183" y="905"/>
                        <a:pt x="1128" y="701"/>
                      </a:cubicBezTo>
                      <a:cubicBezTo>
                        <a:pt x="1071" y="491"/>
                        <a:pt x="915" y="315"/>
                        <a:pt x="892" y="96"/>
                      </a:cubicBezTo>
                      <a:cubicBezTo>
                        <a:pt x="786" y="46"/>
                        <a:pt x="690" y="0"/>
                        <a:pt x="567" y="3"/>
                      </a:cubicBezTo>
                      <a:cubicBezTo>
                        <a:pt x="480" y="6"/>
                        <a:pt x="337" y="1"/>
                        <a:pt x="289" y="73"/>
                      </a:cubicBezTo>
                      <a:cubicBezTo>
                        <a:pt x="244" y="139"/>
                        <a:pt x="236" y="241"/>
                        <a:pt x="210" y="313"/>
                      </a:cubicBezTo>
                      <a:cubicBezTo>
                        <a:pt x="184" y="383"/>
                        <a:pt x="158" y="450"/>
                        <a:pt x="143" y="526"/>
                      </a:cubicBezTo>
                    </a:path>
                  </a:pathLst>
                </a:custGeom>
                <a:solidFill>
                  <a:srgbClr val="0E80A5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20" name="Freeform 231"/>
                <p:cNvSpPr>
                  <a:spLocks/>
                </p:cNvSpPr>
                <p:nvPr/>
              </p:nvSpPr>
              <p:spPr bwMode="gray">
                <a:xfrm>
                  <a:off x="8969375" y="14035088"/>
                  <a:ext cx="1016000" cy="547688"/>
                </a:xfrm>
                <a:custGeom>
                  <a:avLst/>
                  <a:gdLst/>
                  <a:ahLst/>
                  <a:cxnLst>
                    <a:cxn ang="0">
                      <a:pos x="40" y="27"/>
                    </a:cxn>
                    <a:cxn ang="0">
                      <a:pos x="55" y="87"/>
                    </a:cxn>
                    <a:cxn ang="0">
                      <a:pos x="123" y="102"/>
                    </a:cxn>
                    <a:cxn ang="0">
                      <a:pos x="240" y="136"/>
                    </a:cxn>
                    <a:cxn ang="0">
                      <a:pos x="260" y="65"/>
                    </a:cxn>
                    <a:cxn ang="0">
                      <a:pos x="188" y="3"/>
                    </a:cxn>
                    <a:cxn ang="0">
                      <a:pos x="92" y="15"/>
                    </a:cxn>
                    <a:cxn ang="0">
                      <a:pos x="43" y="42"/>
                    </a:cxn>
                  </a:cxnLst>
                  <a:rect l="0" t="0" r="r" b="b"/>
                  <a:pathLst>
                    <a:path w="271" h="146">
                      <a:moveTo>
                        <a:pt x="40" y="27"/>
                      </a:moveTo>
                      <a:cubicBezTo>
                        <a:pt x="51" y="45"/>
                        <a:pt x="43" y="71"/>
                        <a:pt x="55" y="87"/>
                      </a:cubicBezTo>
                      <a:cubicBezTo>
                        <a:pt x="73" y="112"/>
                        <a:pt x="93" y="98"/>
                        <a:pt x="123" y="102"/>
                      </a:cubicBezTo>
                      <a:cubicBezTo>
                        <a:pt x="162" y="108"/>
                        <a:pt x="200" y="146"/>
                        <a:pt x="240" y="136"/>
                      </a:cubicBezTo>
                      <a:cubicBezTo>
                        <a:pt x="251" y="115"/>
                        <a:pt x="256" y="88"/>
                        <a:pt x="260" y="65"/>
                      </a:cubicBezTo>
                      <a:cubicBezTo>
                        <a:pt x="271" y="10"/>
                        <a:pt x="244" y="8"/>
                        <a:pt x="188" y="3"/>
                      </a:cubicBezTo>
                      <a:cubicBezTo>
                        <a:pt x="154" y="0"/>
                        <a:pt x="125" y="10"/>
                        <a:pt x="92" y="15"/>
                      </a:cubicBezTo>
                      <a:cubicBezTo>
                        <a:pt x="79" y="16"/>
                        <a:pt x="0" y="19"/>
                        <a:pt x="43" y="42"/>
                      </a:cubicBezTo>
                    </a:path>
                  </a:pathLst>
                </a:custGeom>
                <a:solidFill>
                  <a:srgbClr val="4D4D4D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21" name="Freeform 232"/>
                <p:cNvSpPr>
                  <a:spLocks/>
                </p:cNvSpPr>
                <p:nvPr/>
              </p:nvSpPr>
              <p:spPr bwMode="gray">
                <a:xfrm>
                  <a:off x="7881937" y="13622338"/>
                  <a:ext cx="1500188" cy="1954213"/>
                </a:xfrm>
                <a:custGeom>
                  <a:avLst/>
                  <a:gdLst/>
                  <a:ahLst/>
                  <a:cxnLst>
                    <a:cxn ang="0">
                      <a:pos x="0" y="501"/>
                    </a:cxn>
                    <a:cxn ang="0">
                      <a:pos x="287" y="500"/>
                    </a:cxn>
                    <a:cxn ang="0">
                      <a:pos x="336" y="439"/>
                    </a:cxn>
                    <a:cxn ang="0">
                      <a:pos x="368" y="334"/>
                    </a:cxn>
                    <a:cxn ang="0">
                      <a:pos x="351" y="69"/>
                    </a:cxn>
                    <a:cxn ang="0">
                      <a:pos x="217" y="200"/>
                    </a:cxn>
                    <a:cxn ang="0">
                      <a:pos x="121" y="391"/>
                    </a:cxn>
                    <a:cxn ang="0">
                      <a:pos x="0" y="501"/>
                    </a:cxn>
                  </a:cxnLst>
                  <a:rect l="0" t="0" r="r" b="b"/>
                  <a:pathLst>
                    <a:path w="400" h="521">
                      <a:moveTo>
                        <a:pt x="0" y="501"/>
                      </a:moveTo>
                      <a:cubicBezTo>
                        <a:pt x="80" y="519"/>
                        <a:pt x="208" y="521"/>
                        <a:pt x="287" y="500"/>
                      </a:cubicBezTo>
                      <a:cubicBezTo>
                        <a:pt x="304" y="477"/>
                        <a:pt x="324" y="466"/>
                        <a:pt x="336" y="439"/>
                      </a:cubicBezTo>
                      <a:cubicBezTo>
                        <a:pt x="351" y="406"/>
                        <a:pt x="361" y="369"/>
                        <a:pt x="368" y="334"/>
                      </a:cubicBezTo>
                      <a:cubicBezTo>
                        <a:pt x="381" y="276"/>
                        <a:pt x="400" y="120"/>
                        <a:pt x="351" y="69"/>
                      </a:cubicBezTo>
                      <a:cubicBezTo>
                        <a:pt x="285" y="0"/>
                        <a:pt x="227" y="151"/>
                        <a:pt x="217" y="200"/>
                      </a:cubicBezTo>
                      <a:cubicBezTo>
                        <a:pt x="201" y="273"/>
                        <a:pt x="194" y="353"/>
                        <a:pt x="121" y="391"/>
                      </a:cubicBezTo>
                      <a:cubicBezTo>
                        <a:pt x="68" y="419"/>
                        <a:pt x="20" y="434"/>
                        <a:pt x="0" y="501"/>
                      </a:cubicBezTo>
                    </a:path>
                  </a:pathLst>
                </a:custGeom>
                <a:solidFill>
                  <a:srgbClr val="4D4D4D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22" name="Freeform 233"/>
                <p:cNvSpPr>
                  <a:spLocks/>
                </p:cNvSpPr>
                <p:nvPr/>
              </p:nvSpPr>
              <p:spPr bwMode="gray">
                <a:xfrm>
                  <a:off x="9759950" y="14046201"/>
                  <a:ext cx="1874838" cy="1836738"/>
                </a:xfrm>
                <a:custGeom>
                  <a:avLst/>
                  <a:gdLst/>
                  <a:ahLst/>
                  <a:cxnLst>
                    <a:cxn ang="0">
                      <a:pos x="33" y="20"/>
                    </a:cxn>
                    <a:cxn ang="0">
                      <a:pos x="6" y="130"/>
                    </a:cxn>
                    <a:cxn ang="0">
                      <a:pos x="7" y="236"/>
                    </a:cxn>
                    <a:cxn ang="0">
                      <a:pos x="37" y="323"/>
                    </a:cxn>
                    <a:cxn ang="0">
                      <a:pos x="64" y="410"/>
                    </a:cxn>
                    <a:cxn ang="0">
                      <a:pos x="242" y="479"/>
                    </a:cxn>
                    <a:cxn ang="0">
                      <a:pos x="386" y="479"/>
                    </a:cxn>
                    <a:cxn ang="0">
                      <a:pos x="454" y="437"/>
                    </a:cxn>
                    <a:cxn ang="0">
                      <a:pos x="499" y="417"/>
                    </a:cxn>
                    <a:cxn ang="0">
                      <a:pos x="499" y="358"/>
                    </a:cxn>
                    <a:cxn ang="0">
                      <a:pos x="398" y="369"/>
                    </a:cxn>
                    <a:cxn ang="0">
                      <a:pos x="295" y="346"/>
                    </a:cxn>
                    <a:cxn ang="0">
                      <a:pos x="156" y="219"/>
                    </a:cxn>
                    <a:cxn ang="0">
                      <a:pos x="120" y="62"/>
                    </a:cxn>
                    <a:cxn ang="0">
                      <a:pos x="29" y="24"/>
                    </a:cxn>
                  </a:cxnLst>
                  <a:rect l="0" t="0" r="r" b="b"/>
                  <a:pathLst>
                    <a:path w="500" h="490">
                      <a:moveTo>
                        <a:pt x="33" y="20"/>
                      </a:moveTo>
                      <a:cubicBezTo>
                        <a:pt x="37" y="59"/>
                        <a:pt x="12" y="94"/>
                        <a:pt x="6" y="130"/>
                      </a:cubicBezTo>
                      <a:cubicBezTo>
                        <a:pt x="0" y="162"/>
                        <a:pt x="0" y="203"/>
                        <a:pt x="7" y="236"/>
                      </a:cubicBezTo>
                      <a:cubicBezTo>
                        <a:pt x="12" y="266"/>
                        <a:pt x="26" y="296"/>
                        <a:pt x="37" y="323"/>
                      </a:cubicBezTo>
                      <a:cubicBezTo>
                        <a:pt x="48" y="351"/>
                        <a:pt x="52" y="385"/>
                        <a:pt x="64" y="410"/>
                      </a:cubicBezTo>
                      <a:cubicBezTo>
                        <a:pt x="96" y="470"/>
                        <a:pt x="182" y="478"/>
                        <a:pt x="242" y="479"/>
                      </a:cubicBezTo>
                      <a:cubicBezTo>
                        <a:pt x="282" y="479"/>
                        <a:pt x="349" y="490"/>
                        <a:pt x="386" y="479"/>
                      </a:cubicBezTo>
                      <a:cubicBezTo>
                        <a:pt x="411" y="471"/>
                        <a:pt x="428" y="446"/>
                        <a:pt x="454" y="437"/>
                      </a:cubicBezTo>
                      <a:cubicBezTo>
                        <a:pt x="475" y="429"/>
                        <a:pt x="489" y="439"/>
                        <a:pt x="499" y="417"/>
                      </a:cubicBezTo>
                      <a:cubicBezTo>
                        <a:pt x="500" y="398"/>
                        <a:pt x="500" y="377"/>
                        <a:pt x="499" y="358"/>
                      </a:cubicBezTo>
                      <a:cubicBezTo>
                        <a:pt x="466" y="356"/>
                        <a:pt x="433" y="369"/>
                        <a:pt x="398" y="369"/>
                      </a:cubicBezTo>
                      <a:cubicBezTo>
                        <a:pt x="361" y="368"/>
                        <a:pt x="329" y="358"/>
                        <a:pt x="295" y="346"/>
                      </a:cubicBezTo>
                      <a:cubicBezTo>
                        <a:pt x="219" y="320"/>
                        <a:pt x="167" y="303"/>
                        <a:pt x="156" y="219"/>
                      </a:cubicBezTo>
                      <a:cubicBezTo>
                        <a:pt x="148" y="166"/>
                        <a:pt x="151" y="108"/>
                        <a:pt x="120" y="62"/>
                      </a:cubicBezTo>
                      <a:cubicBezTo>
                        <a:pt x="106" y="39"/>
                        <a:pt x="43" y="0"/>
                        <a:pt x="29" y="24"/>
                      </a:cubicBezTo>
                    </a:path>
                  </a:pathLst>
                </a:custGeom>
                <a:solidFill>
                  <a:srgbClr val="4D4D4D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23" name="Freeform 234"/>
                <p:cNvSpPr>
                  <a:spLocks/>
                </p:cNvSpPr>
                <p:nvPr/>
              </p:nvSpPr>
              <p:spPr bwMode="gray">
                <a:xfrm>
                  <a:off x="7083425" y="8661401"/>
                  <a:ext cx="5129213" cy="6981825"/>
                </a:xfrm>
                <a:custGeom>
                  <a:avLst/>
                  <a:gdLst/>
                  <a:ahLst/>
                  <a:cxnLst>
                    <a:cxn ang="0">
                      <a:pos x="660" y="152"/>
                    </a:cxn>
                    <a:cxn ang="0">
                      <a:pos x="488" y="215"/>
                    </a:cxn>
                    <a:cxn ang="0">
                      <a:pos x="340" y="257"/>
                    </a:cxn>
                    <a:cxn ang="0">
                      <a:pos x="91" y="448"/>
                    </a:cxn>
                    <a:cxn ang="0">
                      <a:pos x="46" y="798"/>
                    </a:cxn>
                    <a:cxn ang="0">
                      <a:pos x="1" y="1168"/>
                    </a:cxn>
                    <a:cxn ang="0">
                      <a:pos x="56" y="1356"/>
                    </a:cxn>
                    <a:cxn ang="0">
                      <a:pos x="235" y="1412"/>
                    </a:cxn>
                    <a:cxn ang="0">
                      <a:pos x="205" y="1585"/>
                    </a:cxn>
                    <a:cxn ang="0">
                      <a:pos x="184" y="1781"/>
                    </a:cxn>
                    <a:cxn ang="0">
                      <a:pos x="425" y="1812"/>
                    </a:cxn>
                    <a:cxn ang="0">
                      <a:pos x="532" y="1668"/>
                    </a:cxn>
                    <a:cxn ang="0">
                      <a:pos x="516" y="1412"/>
                    </a:cxn>
                    <a:cxn ang="0">
                      <a:pos x="548" y="1116"/>
                    </a:cxn>
                    <a:cxn ang="0">
                      <a:pos x="818" y="1056"/>
                    </a:cxn>
                    <a:cxn ang="0">
                      <a:pos x="834" y="1229"/>
                    </a:cxn>
                    <a:cxn ang="0">
                      <a:pos x="796" y="1382"/>
                    </a:cxn>
                    <a:cxn ang="0">
                      <a:pos x="758" y="1706"/>
                    </a:cxn>
                    <a:cxn ang="0">
                      <a:pos x="963" y="1858"/>
                    </a:cxn>
                    <a:cxn ang="0">
                      <a:pos x="1273" y="1788"/>
                    </a:cxn>
                    <a:cxn ang="0">
                      <a:pos x="1174" y="1403"/>
                    </a:cxn>
                    <a:cxn ang="0">
                      <a:pos x="1128" y="1091"/>
                    </a:cxn>
                    <a:cxn ang="0">
                      <a:pos x="1266" y="819"/>
                    </a:cxn>
                    <a:cxn ang="0">
                      <a:pos x="1359" y="495"/>
                    </a:cxn>
                    <a:cxn ang="0">
                      <a:pos x="1364" y="427"/>
                    </a:cxn>
                    <a:cxn ang="0">
                      <a:pos x="1033" y="228"/>
                    </a:cxn>
                    <a:cxn ang="0">
                      <a:pos x="630" y="160"/>
                    </a:cxn>
                  </a:cxnLst>
                  <a:rect l="0" t="0" r="r" b="b"/>
                  <a:pathLst>
                    <a:path w="1368" h="1862">
                      <a:moveTo>
                        <a:pt x="660" y="152"/>
                      </a:moveTo>
                      <a:cubicBezTo>
                        <a:pt x="620" y="178"/>
                        <a:pt x="539" y="189"/>
                        <a:pt x="488" y="215"/>
                      </a:cubicBezTo>
                      <a:cubicBezTo>
                        <a:pt x="439" y="240"/>
                        <a:pt x="391" y="246"/>
                        <a:pt x="340" y="257"/>
                      </a:cubicBezTo>
                      <a:cubicBezTo>
                        <a:pt x="220" y="283"/>
                        <a:pt x="130" y="325"/>
                        <a:pt x="91" y="448"/>
                      </a:cubicBezTo>
                      <a:cubicBezTo>
                        <a:pt x="58" y="554"/>
                        <a:pt x="64" y="682"/>
                        <a:pt x="46" y="798"/>
                      </a:cubicBezTo>
                      <a:cubicBezTo>
                        <a:pt x="28" y="923"/>
                        <a:pt x="1" y="1035"/>
                        <a:pt x="1" y="1168"/>
                      </a:cubicBezTo>
                      <a:cubicBezTo>
                        <a:pt x="1" y="1237"/>
                        <a:pt x="0" y="1307"/>
                        <a:pt x="56" y="1356"/>
                      </a:cubicBezTo>
                      <a:cubicBezTo>
                        <a:pt x="109" y="1402"/>
                        <a:pt x="171" y="1389"/>
                        <a:pt x="235" y="1412"/>
                      </a:cubicBezTo>
                      <a:cubicBezTo>
                        <a:pt x="194" y="1455"/>
                        <a:pt x="205" y="1526"/>
                        <a:pt x="205" y="1585"/>
                      </a:cubicBezTo>
                      <a:cubicBezTo>
                        <a:pt x="205" y="1648"/>
                        <a:pt x="174" y="1724"/>
                        <a:pt x="184" y="1781"/>
                      </a:cubicBezTo>
                      <a:cubicBezTo>
                        <a:pt x="250" y="1810"/>
                        <a:pt x="348" y="1824"/>
                        <a:pt x="425" y="1812"/>
                      </a:cubicBezTo>
                      <a:cubicBezTo>
                        <a:pt x="517" y="1798"/>
                        <a:pt x="536" y="1763"/>
                        <a:pt x="532" y="1668"/>
                      </a:cubicBezTo>
                      <a:cubicBezTo>
                        <a:pt x="527" y="1585"/>
                        <a:pt x="515" y="1501"/>
                        <a:pt x="516" y="1412"/>
                      </a:cubicBezTo>
                      <a:cubicBezTo>
                        <a:pt x="517" y="1312"/>
                        <a:pt x="549" y="1213"/>
                        <a:pt x="548" y="1116"/>
                      </a:cubicBezTo>
                      <a:cubicBezTo>
                        <a:pt x="638" y="1096"/>
                        <a:pt x="722" y="1063"/>
                        <a:pt x="818" y="1056"/>
                      </a:cubicBezTo>
                      <a:cubicBezTo>
                        <a:pt x="825" y="1114"/>
                        <a:pt x="839" y="1167"/>
                        <a:pt x="834" y="1229"/>
                      </a:cubicBezTo>
                      <a:cubicBezTo>
                        <a:pt x="830" y="1290"/>
                        <a:pt x="808" y="1322"/>
                        <a:pt x="796" y="1382"/>
                      </a:cubicBezTo>
                      <a:cubicBezTo>
                        <a:pt x="776" y="1480"/>
                        <a:pt x="736" y="1601"/>
                        <a:pt x="758" y="1706"/>
                      </a:cubicBezTo>
                      <a:cubicBezTo>
                        <a:pt x="780" y="1812"/>
                        <a:pt x="865" y="1854"/>
                        <a:pt x="963" y="1858"/>
                      </a:cubicBezTo>
                      <a:cubicBezTo>
                        <a:pt x="1089" y="1862"/>
                        <a:pt x="1161" y="1807"/>
                        <a:pt x="1273" y="1788"/>
                      </a:cubicBezTo>
                      <a:cubicBezTo>
                        <a:pt x="1284" y="1663"/>
                        <a:pt x="1216" y="1519"/>
                        <a:pt x="1174" y="1403"/>
                      </a:cubicBezTo>
                      <a:cubicBezTo>
                        <a:pt x="1135" y="1297"/>
                        <a:pt x="1064" y="1202"/>
                        <a:pt x="1128" y="1091"/>
                      </a:cubicBezTo>
                      <a:cubicBezTo>
                        <a:pt x="1188" y="986"/>
                        <a:pt x="1247" y="942"/>
                        <a:pt x="1266" y="819"/>
                      </a:cubicBezTo>
                      <a:cubicBezTo>
                        <a:pt x="1284" y="711"/>
                        <a:pt x="1341" y="603"/>
                        <a:pt x="1359" y="495"/>
                      </a:cubicBezTo>
                      <a:cubicBezTo>
                        <a:pt x="1363" y="474"/>
                        <a:pt x="1368" y="450"/>
                        <a:pt x="1364" y="427"/>
                      </a:cubicBezTo>
                      <a:cubicBezTo>
                        <a:pt x="1259" y="370"/>
                        <a:pt x="1139" y="295"/>
                        <a:pt x="1033" y="228"/>
                      </a:cubicBezTo>
                      <a:cubicBezTo>
                        <a:pt x="941" y="170"/>
                        <a:pt x="716" y="0"/>
                        <a:pt x="630" y="160"/>
                      </a:cubicBezTo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24" name="Freeform 235"/>
                <p:cNvSpPr>
                  <a:spLocks/>
                </p:cNvSpPr>
                <p:nvPr/>
              </p:nvSpPr>
              <p:spPr bwMode="gray">
                <a:xfrm>
                  <a:off x="10420350" y="14266863"/>
                  <a:ext cx="1547813" cy="446088"/>
                </a:xfrm>
                <a:custGeom>
                  <a:avLst/>
                  <a:gdLst/>
                  <a:ahLst/>
                  <a:cxnLst>
                    <a:cxn ang="0">
                      <a:pos x="0" y="14"/>
                    </a:cxn>
                    <a:cxn ang="0">
                      <a:pos x="142" y="110"/>
                    </a:cxn>
                    <a:cxn ang="0">
                      <a:pos x="222" y="100"/>
                    </a:cxn>
                    <a:cxn ang="0">
                      <a:pos x="338" y="104"/>
                    </a:cxn>
                    <a:cxn ang="0">
                      <a:pos x="232" y="19"/>
                    </a:cxn>
                    <a:cxn ang="0">
                      <a:pos x="16" y="0"/>
                    </a:cxn>
                    <a:cxn ang="0">
                      <a:pos x="15" y="29"/>
                    </a:cxn>
                  </a:cxnLst>
                  <a:rect l="0" t="0" r="r" b="b"/>
                  <a:pathLst>
                    <a:path w="413" h="119">
                      <a:moveTo>
                        <a:pt x="0" y="14"/>
                      </a:moveTo>
                      <a:cubicBezTo>
                        <a:pt x="27" y="70"/>
                        <a:pt x="74" y="119"/>
                        <a:pt x="142" y="110"/>
                      </a:cubicBezTo>
                      <a:cubicBezTo>
                        <a:pt x="175" y="106"/>
                        <a:pt x="185" y="97"/>
                        <a:pt x="222" y="100"/>
                      </a:cubicBezTo>
                      <a:cubicBezTo>
                        <a:pt x="261" y="103"/>
                        <a:pt x="298" y="106"/>
                        <a:pt x="338" y="104"/>
                      </a:cubicBezTo>
                      <a:cubicBezTo>
                        <a:pt x="413" y="50"/>
                        <a:pt x="274" y="19"/>
                        <a:pt x="232" y="19"/>
                      </a:cubicBezTo>
                      <a:cubicBezTo>
                        <a:pt x="161" y="19"/>
                        <a:pt x="74" y="32"/>
                        <a:pt x="16" y="0"/>
                      </a:cubicBezTo>
                      <a:cubicBezTo>
                        <a:pt x="15" y="9"/>
                        <a:pt x="14" y="20"/>
                        <a:pt x="15" y="29"/>
                      </a:cubicBezTo>
                    </a:path>
                  </a:pathLst>
                </a:custGeom>
                <a:solidFill>
                  <a:srgbClr val="99999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25" name="Freeform 237"/>
                <p:cNvSpPr>
                  <a:spLocks/>
                </p:cNvSpPr>
                <p:nvPr/>
              </p:nvSpPr>
              <p:spPr bwMode="gray">
                <a:xfrm>
                  <a:off x="10934700" y="10142538"/>
                  <a:ext cx="2005013" cy="4495800"/>
                </a:xfrm>
                <a:custGeom>
                  <a:avLst/>
                  <a:gdLst/>
                  <a:ahLst/>
                  <a:cxnLst>
                    <a:cxn ang="0">
                      <a:pos x="255" y="0"/>
                    </a:cxn>
                    <a:cxn ang="0">
                      <a:pos x="345" y="250"/>
                    </a:cxn>
                    <a:cxn ang="0">
                      <a:pos x="414" y="531"/>
                    </a:cxn>
                    <a:cxn ang="0">
                      <a:pos x="392" y="1100"/>
                    </a:cxn>
                    <a:cxn ang="0">
                      <a:pos x="110" y="1145"/>
                    </a:cxn>
                    <a:cxn ang="0">
                      <a:pos x="35" y="1046"/>
                    </a:cxn>
                    <a:cxn ang="0">
                      <a:pos x="0" y="894"/>
                    </a:cxn>
                    <a:cxn ang="0">
                      <a:pos x="162" y="908"/>
                    </a:cxn>
                    <a:cxn ang="0">
                      <a:pos x="165" y="888"/>
                    </a:cxn>
                    <a:cxn ang="0">
                      <a:pos x="193" y="885"/>
                    </a:cxn>
                    <a:cxn ang="0">
                      <a:pos x="180" y="864"/>
                    </a:cxn>
                    <a:cxn ang="0">
                      <a:pos x="188" y="627"/>
                    </a:cxn>
                    <a:cxn ang="0">
                      <a:pos x="141" y="538"/>
                    </a:cxn>
                    <a:cxn ang="0">
                      <a:pos x="133" y="468"/>
                    </a:cxn>
                    <a:cxn ang="0">
                      <a:pos x="86" y="419"/>
                    </a:cxn>
                    <a:cxn ang="0">
                      <a:pos x="239" y="0"/>
                    </a:cxn>
                  </a:cxnLst>
                  <a:rect l="0" t="0" r="r" b="b"/>
                  <a:pathLst>
                    <a:path w="535" h="1199">
                      <a:moveTo>
                        <a:pt x="255" y="0"/>
                      </a:moveTo>
                      <a:cubicBezTo>
                        <a:pt x="371" y="74"/>
                        <a:pt x="349" y="133"/>
                        <a:pt x="345" y="250"/>
                      </a:cubicBezTo>
                      <a:cubicBezTo>
                        <a:pt x="342" y="350"/>
                        <a:pt x="410" y="426"/>
                        <a:pt x="414" y="531"/>
                      </a:cubicBezTo>
                      <a:cubicBezTo>
                        <a:pt x="417" y="628"/>
                        <a:pt x="535" y="1090"/>
                        <a:pt x="392" y="1100"/>
                      </a:cubicBezTo>
                      <a:cubicBezTo>
                        <a:pt x="338" y="1199"/>
                        <a:pt x="200" y="1164"/>
                        <a:pt x="110" y="1145"/>
                      </a:cubicBezTo>
                      <a:cubicBezTo>
                        <a:pt x="34" y="1129"/>
                        <a:pt x="31" y="1124"/>
                        <a:pt x="35" y="1046"/>
                      </a:cubicBezTo>
                      <a:cubicBezTo>
                        <a:pt x="37" y="994"/>
                        <a:pt x="50" y="925"/>
                        <a:pt x="0" y="894"/>
                      </a:cubicBezTo>
                      <a:cubicBezTo>
                        <a:pt x="58" y="890"/>
                        <a:pt x="105" y="919"/>
                        <a:pt x="162" y="908"/>
                      </a:cubicBezTo>
                      <a:cubicBezTo>
                        <a:pt x="166" y="905"/>
                        <a:pt x="163" y="892"/>
                        <a:pt x="165" y="888"/>
                      </a:cubicBezTo>
                      <a:cubicBezTo>
                        <a:pt x="173" y="888"/>
                        <a:pt x="186" y="889"/>
                        <a:pt x="193" y="885"/>
                      </a:cubicBezTo>
                      <a:cubicBezTo>
                        <a:pt x="188" y="874"/>
                        <a:pt x="189" y="876"/>
                        <a:pt x="180" y="864"/>
                      </a:cubicBezTo>
                      <a:cubicBezTo>
                        <a:pt x="186" y="811"/>
                        <a:pt x="205" y="677"/>
                        <a:pt x="188" y="627"/>
                      </a:cubicBezTo>
                      <a:cubicBezTo>
                        <a:pt x="178" y="596"/>
                        <a:pt x="151" y="572"/>
                        <a:pt x="141" y="538"/>
                      </a:cubicBezTo>
                      <a:cubicBezTo>
                        <a:pt x="133" y="514"/>
                        <a:pt x="144" y="489"/>
                        <a:pt x="133" y="468"/>
                      </a:cubicBezTo>
                      <a:cubicBezTo>
                        <a:pt x="123" y="447"/>
                        <a:pt x="98" y="438"/>
                        <a:pt x="86" y="419"/>
                      </a:cubicBezTo>
                      <a:cubicBezTo>
                        <a:pt x="17" y="306"/>
                        <a:pt x="122" y="49"/>
                        <a:pt x="239" y="0"/>
                      </a:cubicBezTo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26" name="Freeform 238"/>
                <p:cNvSpPr>
                  <a:spLocks/>
                </p:cNvSpPr>
                <p:nvPr/>
              </p:nvSpPr>
              <p:spPr bwMode="gray">
                <a:xfrm>
                  <a:off x="7918450" y="13809663"/>
                  <a:ext cx="1169988" cy="1143000"/>
                </a:xfrm>
                <a:custGeom>
                  <a:avLst/>
                  <a:gdLst/>
                  <a:ahLst/>
                  <a:cxnLst>
                    <a:cxn ang="0">
                      <a:pos x="0" y="146"/>
                    </a:cxn>
                    <a:cxn ang="0">
                      <a:pos x="217" y="202"/>
                    </a:cxn>
                    <a:cxn ang="0">
                      <a:pos x="196" y="297"/>
                    </a:cxn>
                    <a:cxn ang="0">
                      <a:pos x="262" y="223"/>
                    </a:cxn>
                    <a:cxn ang="0">
                      <a:pos x="268" y="247"/>
                    </a:cxn>
                    <a:cxn ang="0">
                      <a:pos x="244" y="50"/>
                    </a:cxn>
                    <a:cxn ang="0">
                      <a:pos x="11" y="127"/>
                    </a:cxn>
                    <a:cxn ang="0">
                      <a:pos x="10" y="151"/>
                    </a:cxn>
                  </a:cxnLst>
                  <a:rect l="0" t="0" r="r" b="b"/>
                  <a:pathLst>
                    <a:path w="312" h="305">
                      <a:moveTo>
                        <a:pt x="0" y="146"/>
                      </a:moveTo>
                      <a:cubicBezTo>
                        <a:pt x="36" y="159"/>
                        <a:pt x="211" y="160"/>
                        <a:pt x="217" y="202"/>
                      </a:cubicBezTo>
                      <a:cubicBezTo>
                        <a:pt x="223" y="235"/>
                        <a:pt x="38" y="305"/>
                        <a:pt x="196" y="297"/>
                      </a:cubicBezTo>
                      <a:cubicBezTo>
                        <a:pt x="207" y="274"/>
                        <a:pt x="233" y="221"/>
                        <a:pt x="262" y="223"/>
                      </a:cubicBezTo>
                      <a:cubicBezTo>
                        <a:pt x="263" y="230"/>
                        <a:pt x="267" y="241"/>
                        <a:pt x="268" y="247"/>
                      </a:cubicBezTo>
                      <a:cubicBezTo>
                        <a:pt x="312" y="212"/>
                        <a:pt x="285" y="72"/>
                        <a:pt x="244" y="50"/>
                      </a:cubicBezTo>
                      <a:cubicBezTo>
                        <a:pt x="147" y="0"/>
                        <a:pt x="91" y="112"/>
                        <a:pt x="11" y="127"/>
                      </a:cubicBezTo>
                      <a:cubicBezTo>
                        <a:pt x="10" y="134"/>
                        <a:pt x="9" y="144"/>
                        <a:pt x="10" y="151"/>
                      </a:cubicBezTo>
                    </a:path>
                  </a:pathLst>
                </a:custGeom>
                <a:solidFill>
                  <a:srgbClr val="99999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27" name="Freeform 240"/>
                <p:cNvSpPr>
                  <a:spLocks/>
                </p:cNvSpPr>
                <p:nvPr/>
              </p:nvSpPr>
              <p:spPr bwMode="gray">
                <a:xfrm>
                  <a:off x="8358187" y="9972676"/>
                  <a:ext cx="176213" cy="1211263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28" y="159"/>
                    </a:cxn>
                    <a:cxn ang="0">
                      <a:pos x="43" y="321"/>
                    </a:cxn>
                    <a:cxn ang="0">
                      <a:pos x="17" y="321"/>
                    </a:cxn>
                    <a:cxn ang="0">
                      <a:pos x="6" y="147"/>
                    </a:cxn>
                    <a:cxn ang="0">
                      <a:pos x="43" y="3"/>
                    </a:cxn>
                  </a:cxnLst>
                  <a:rect l="0" t="0" r="r" b="b"/>
                  <a:pathLst>
                    <a:path w="47" h="323">
                      <a:moveTo>
                        <a:pt x="43" y="0"/>
                      </a:moveTo>
                      <a:cubicBezTo>
                        <a:pt x="43" y="55"/>
                        <a:pt x="28" y="102"/>
                        <a:pt x="28" y="159"/>
                      </a:cubicBezTo>
                      <a:cubicBezTo>
                        <a:pt x="28" y="213"/>
                        <a:pt x="47" y="273"/>
                        <a:pt x="43" y="321"/>
                      </a:cubicBezTo>
                      <a:cubicBezTo>
                        <a:pt x="37" y="323"/>
                        <a:pt x="24" y="323"/>
                        <a:pt x="17" y="321"/>
                      </a:cubicBezTo>
                      <a:cubicBezTo>
                        <a:pt x="15" y="263"/>
                        <a:pt x="0" y="209"/>
                        <a:pt x="6" y="147"/>
                      </a:cubicBezTo>
                      <a:cubicBezTo>
                        <a:pt x="11" y="96"/>
                        <a:pt x="32" y="52"/>
                        <a:pt x="43" y="3"/>
                      </a:cubicBezTo>
                    </a:path>
                  </a:pathLst>
                </a:custGeom>
                <a:solidFill>
                  <a:srgbClr val="99999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28" name="Freeform 241"/>
                <p:cNvSpPr>
                  <a:spLocks/>
                </p:cNvSpPr>
                <p:nvPr/>
              </p:nvSpPr>
              <p:spPr bwMode="gray">
                <a:xfrm>
                  <a:off x="11687175" y="13360401"/>
                  <a:ext cx="927100" cy="250825"/>
                </a:xfrm>
                <a:custGeom>
                  <a:avLst/>
                  <a:gdLst/>
                  <a:ahLst/>
                  <a:cxnLst>
                    <a:cxn ang="0">
                      <a:pos x="0" y="36"/>
                    </a:cxn>
                    <a:cxn ang="0">
                      <a:pos x="126" y="14"/>
                    </a:cxn>
                    <a:cxn ang="0">
                      <a:pos x="231" y="62"/>
                    </a:cxn>
                    <a:cxn ang="0">
                      <a:pos x="133" y="2"/>
                    </a:cxn>
                    <a:cxn ang="0">
                      <a:pos x="0" y="36"/>
                    </a:cxn>
                  </a:cxnLst>
                  <a:rect l="0" t="0" r="r" b="b"/>
                  <a:pathLst>
                    <a:path w="247" h="67">
                      <a:moveTo>
                        <a:pt x="0" y="36"/>
                      </a:moveTo>
                      <a:cubicBezTo>
                        <a:pt x="44" y="35"/>
                        <a:pt x="81" y="7"/>
                        <a:pt x="126" y="14"/>
                      </a:cubicBezTo>
                      <a:cubicBezTo>
                        <a:pt x="166" y="19"/>
                        <a:pt x="190" y="67"/>
                        <a:pt x="231" y="62"/>
                      </a:cubicBezTo>
                      <a:cubicBezTo>
                        <a:pt x="247" y="11"/>
                        <a:pt x="166" y="4"/>
                        <a:pt x="133" y="2"/>
                      </a:cubicBezTo>
                      <a:cubicBezTo>
                        <a:pt x="80" y="0"/>
                        <a:pt x="48" y="26"/>
                        <a:pt x="0" y="36"/>
                      </a:cubicBezTo>
                    </a:path>
                  </a:pathLst>
                </a:custGeom>
                <a:solidFill>
                  <a:srgbClr val="99999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29" name="Freeform 244"/>
                <p:cNvSpPr>
                  <a:spLocks/>
                </p:cNvSpPr>
                <p:nvPr/>
              </p:nvSpPr>
              <p:spPr bwMode="gray">
                <a:xfrm>
                  <a:off x="7618412" y="10213976"/>
                  <a:ext cx="442913" cy="1019175"/>
                </a:xfrm>
                <a:custGeom>
                  <a:avLst/>
                  <a:gdLst/>
                  <a:ahLst/>
                  <a:cxnLst>
                    <a:cxn ang="0">
                      <a:pos x="47" y="0"/>
                    </a:cxn>
                    <a:cxn ang="0">
                      <a:pos x="74" y="136"/>
                    </a:cxn>
                    <a:cxn ang="0">
                      <a:pos x="107" y="272"/>
                    </a:cxn>
                    <a:cxn ang="0">
                      <a:pos x="51" y="4"/>
                    </a:cxn>
                  </a:cxnLst>
                  <a:rect l="0" t="0" r="r" b="b"/>
                  <a:pathLst>
                    <a:path w="118" h="272">
                      <a:moveTo>
                        <a:pt x="47" y="0"/>
                      </a:moveTo>
                      <a:cubicBezTo>
                        <a:pt x="90" y="13"/>
                        <a:pt x="72" y="101"/>
                        <a:pt x="74" y="136"/>
                      </a:cubicBezTo>
                      <a:cubicBezTo>
                        <a:pt x="76" y="184"/>
                        <a:pt x="108" y="227"/>
                        <a:pt x="107" y="272"/>
                      </a:cubicBezTo>
                      <a:cubicBezTo>
                        <a:pt x="0" y="257"/>
                        <a:pt x="118" y="44"/>
                        <a:pt x="51" y="4"/>
                      </a:cubicBezTo>
                    </a:path>
                  </a:pathLst>
                </a:custGeom>
                <a:solidFill>
                  <a:srgbClr val="99999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0" name="Freeform 246"/>
                <p:cNvSpPr>
                  <a:spLocks/>
                </p:cNvSpPr>
                <p:nvPr/>
              </p:nvSpPr>
              <p:spPr bwMode="gray">
                <a:xfrm>
                  <a:off x="10352087" y="13401676"/>
                  <a:ext cx="935038" cy="1146175"/>
                </a:xfrm>
                <a:custGeom>
                  <a:avLst/>
                  <a:gdLst/>
                  <a:ahLst/>
                  <a:cxnLst>
                    <a:cxn ang="0">
                      <a:pos x="8" y="154"/>
                    </a:cxn>
                    <a:cxn ang="0">
                      <a:pos x="137" y="306"/>
                    </a:cxn>
                    <a:cxn ang="0">
                      <a:pos x="220" y="162"/>
                    </a:cxn>
                    <a:cxn ang="0">
                      <a:pos x="121" y="3"/>
                    </a:cxn>
                    <a:cxn ang="0">
                      <a:pos x="0" y="169"/>
                    </a:cxn>
                  </a:cxnLst>
                  <a:rect l="0" t="0" r="r" b="b"/>
                  <a:pathLst>
                    <a:path w="249" h="306">
                      <a:moveTo>
                        <a:pt x="8" y="154"/>
                      </a:moveTo>
                      <a:cubicBezTo>
                        <a:pt x="8" y="249"/>
                        <a:pt x="31" y="306"/>
                        <a:pt x="137" y="306"/>
                      </a:cubicBezTo>
                      <a:cubicBezTo>
                        <a:pt x="249" y="306"/>
                        <a:pt x="228" y="246"/>
                        <a:pt x="220" y="162"/>
                      </a:cubicBezTo>
                      <a:cubicBezTo>
                        <a:pt x="212" y="84"/>
                        <a:pt x="221" y="6"/>
                        <a:pt x="121" y="3"/>
                      </a:cubicBezTo>
                      <a:cubicBezTo>
                        <a:pt x="52" y="0"/>
                        <a:pt x="3" y="105"/>
                        <a:pt x="0" y="169"/>
                      </a:cubicBezTo>
                    </a:path>
                  </a:pathLst>
                </a:custGeom>
                <a:solidFill>
                  <a:srgbClr val="F0F0F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1" name="Freeform 247"/>
                <p:cNvSpPr>
                  <a:spLocks/>
                </p:cNvSpPr>
                <p:nvPr/>
              </p:nvSpPr>
              <p:spPr bwMode="gray">
                <a:xfrm>
                  <a:off x="9021757" y="7745416"/>
                  <a:ext cx="1731962" cy="3697287"/>
                </a:xfrm>
                <a:custGeom>
                  <a:avLst/>
                  <a:gdLst/>
                  <a:ahLst/>
                  <a:cxnLst>
                    <a:cxn ang="0">
                      <a:pos x="135" y="252"/>
                    </a:cxn>
                    <a:cxn ang="0">
                      <a:pos x="35" y="563"/>
                    </a:cxn>
                    <a:cxn ang="0">
                      <a:pos x="141" y="904"/>
                    </a:cxn>
                    <a:cxn ang="0">
                      <a:pos x="302" y="844"/>
                    </a:cxn>
                    <a:cxn ang="0">
                      <a:pos x="454" y="563"/>
                    </a:cxn>
                    <a:cxn ang="0">
                      <a:pos x="213" y="42"/>
                    </a:cxn>
                    <a:cxn ang="0">
                      <a:pos x="135" y="275"/>
                    </a:cxn>
                  </a:cxnLst>
                  <a:rect l="0" t="0" r="r" b="b"/>
                  <a:pathLst>
                    <a:path w="462" h="986">
                      <a:moveTo>
                        <a:pt x="135" y="252"/>
                      </a:moveTo>
                      <a:cubicBezTo>
                        <a:pt x="147" y="366"/>
                        <a:pt x="0" y="457"/>
                        <a:pt x="35" y="563"/>
                      </a:cubicBezTo>
                      <a:cubicBezTo>
                        <a:pt x="80" y="700"/>
                        <a:pt x="44" y="807"/>
                        <a:pt x="141" y="904"/>
                      </a:cubicBezTo>
                      <a:cubicBezTo>
                        <a:pt x="223" y="986"/>
                        <a:pt x="233" y="951"/>
                        <a:pt x="302" y="844"/>
                      </a:cubicBezTo>
                      <a:cubicBezTo>
                        <a:pt x="367" y="742"/>
                        <a:pt x="399" y="672"/>
                        <a:pt x="454" y="563"/>
                      </a:cubicBezTo>
                      <a:cubicBezTo>
                        <a:pt x="425" y="419"/>
                        <a:pt x="462" y="0"/>
                        <a:pt x="213" y="42"/>
                      </a:cubicBezTo>
                      <a:cubicBezTo>
                        <a:pt x="174" y="109"/>
                        <a:pt x="79" y="184"/>
                        <a:pt x="135" y="275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2" name="Freeform 248"/>
                <p:cNvSpPr>
                  <a:spLocks/>
                </p:cNvSpPr>
                <p:nvPr/>
              </p:nvSpPr>
              <p:spPr bwMode="gray">
                <a:xfrm>
                  <a:off x="8226425" y="8832851"/>
                  <a:ext cx="3336925" cy="3479800"/>
                </a:xfrm>
                <a:custGeom>
                  <a:avLst/>
                  <a:gdLst/>
                  <a:ahLst/>
                  <a:cxnLst>
                    <a:cxn ang="0">
                      <a:pos x="325" y="53"/>
                    </a:cxn>
                    <a:cxn ang="0">
                      <a:pos x="323" y="313"/>
                    </a:cxn>
                    <a:cxn ang="0">
                      <a:pos x="410" y="553"/>
                    </a:cxn>
                    <a:cxn ang="0">
                      <a:pos x="583" y="336"/>
                    </a:cxn>
                    <a:cxn ang="0">
                      <a:pos x="629" y="17"/>
                    </a:cxn>
                    <a:cxn ang="0">
                      <a:pos x="734" y="220"/>
                    </a:cxn>
                    <a:cxn ang="0">
                      <a:pos x="890" y="409"/>
                    </a:cxn>
                    <a:cxn ang="0">
                      <a:pos x="658" y="318"/>
                    </a:cxn>
                    <a:cxn ang="0">
                      <a:pos x="590" y="448"/>
                    </a:cxn>
                    <a:cxn ang="0">
                      <a:pos x="552" y="599"/>
                    </a:cxn>
                    <a:cxn ang="0">
                      <a:pos x="410" y="850"/>
                    </a:cxn>
                    <a:cxn ang="0">
                      <a:pos x="257" y="607"/>
                    </a:cxn>
                    <a:cxn ang="0">
                      <a:pos x="257" y="417"/>
                    </a:cxn>
                    <a:cxn ang="0">
                      <a:pos x="217" y="268"/>
                    </a:cxn>
                    <a:cxn ang="0">
                      <a:pos x="119" y="264"/>
                    </a:cxn>
                    <a:cxn ang="0">
                      <a:pos x="0" y="249"/>
                    </a:cxn>
                    <a:cxn ang="0">
                      <a:pos x="164" y="142"/>
                    </a:cxn>
                    <a:cxn ang="0">
                      <a:pos x="317" y="31"/>
                    </a:cxn>
                  </a:cxnLst>
                  <a:rect l="0" t="0" r="r" b="b"/>
                  <a:pathLst>
                    <a:path w="890" h="928">
                      <a:moveTo>
                        <a:pt x="325" y="53"/>
                      </a:moveTo>
                      <a:cubicBezTo>
                        <a:pt x="337" y="149"/>
                        <a:pt x="286" y="214"/>
                        <a:pt x="323" y="313"/>
                      </a:cubicBezTo>
                      <a:cubicBezTo>
                        <a:pt x="352" y="391"/>
                        <a:pt x="400" y="467"/>
                        <a:pt x="410" y="553"/>
                      </a:cubicBezTo>
                      <a:cubicBezTo>
                        <a:pt x="478" y="511"/>
                        <a:pt x="536" y="412"/>
                        <a:pt x="583" y="336"/>
                      </a:cubicBezTo>
                      <a:cubicBezTo>
                        <a:pt x="649" y="227"/>
                        <a:pt x="619" y="144"/>
                        <a:pt x="629" y="17"/>
                      </a:cubicBezTo>
                      <a:cubicBezTo>
                        <a:pt x="734" y="0"/>
                        <a:pt x="702" y="161"/>
                        <a:pt x="734" y="220"/>
                      </a:cubicBezTo>
                      <a:cubicBezTo>
                        <a:pt x="772" y="292"/>
                        <a:pt x="833" y="355"/>
                        <a:pt x="890" y="409"/>
                      </a:cubicBezTo>
                      <a:cubicBezTo>
                        <a:pt x="813" y="402"/>
                        <a:pt x="727" y="351"/>
                        <a:pt x="658" y="318"/>
                      </a:cubicBezTo>
                      <a:cubicBezTo>
                        <a:pt x="615" y="366"/>
                        <a:pt x="604" y="385"/>
                        <a:pt x="590" y="448"/>
                      </a:cubicBezTo>
                      <a:cubicBezTo>
                        <a:pt x="578" y="499"/>
                        <a:pt x="570" y="551"/>
                        <a:pt x="552" y="599"/>
                      </a:cubicBezTo>
                      <a:cubicBezTo>
                        <a:pt x="531" y="657"/>
                        <a:pt x="454" y="824"/>
                        <a:pt x="410" y="850"/>
                      </a:cubicBezTo>
                      <a:cubicBezTo>
                        <a:pt x="278" y="928"/>
                        <a:pt x="260" y="680"/>
                        <a:pt x="257" y="607"/>
                      </a:cubicBezTo>
                      <a:cubicBezTo>
                        <a:pt x="253" y="544"/>
                        <a:pt x="257" y="480"/>
                        <a:pt x="257" y="417"/>
                      </a:cubicBezTo>
                      <a:cubicBezTo>
                        <a:pt x="256" y="335"/>
                        <a:pt x="266" y="325"/>
                        <a:pt x="217" y="268"/>
                      </a:cubicBezTo>
                      <a:cubicBezTo>
                        <a:pt x="178" y="222"/>
                        <a:pt x="147" y="189"/>
                        <a:pt x="119" y="264"/>
                      </a:cubicBezTo>
                      <a:cubicBezTo>
                        <a:pt x="79" y="267"/>
                        <a:pt x="30" y="276"/>
                        <a:pt x="0" y="249"/>
                      </a:cubicBezTo>
                      <a:cubicBezTo>
                        <a:pt x="36" y="206"/>
                        <a:pt x="115" y="181"/>
                        <a:pt x="164" y="142"/>
                      </a:cubicBezTo>
                      <a:cubicBezTo>
                        <a:pt x="210" y="107"/>
                        <a:pt x="261" y="45"/>
                        <a:pt x="317" y="31"/>
                      </a:cubicBezTo>
                    </a:path>
                  </a:pathLst>
                </a:custGeom>
                <a:solidFill>
                  <a:srgbClr val="FD9B0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3" name="Freeform 249"/>
                <p:cNvSpPr>
                  <a:spLocks/>
                </p:cNvSpPr>
                <p:nvPr/>
              </p:nvSpPr>
              <p:spPr bwMode="gray">
                <a:xfrm>
                  <a:off x="8864600" y="6500813"/>
                  <a:ext cx="2170113" cy="2767013"/>
                </a:xfrm>
                <a:custGeom>
                  <a:avLst/>
                  <a:gdLst/>
                  <a:ahLst/>
                  <a:cxnLst>
                    <a:cxn ang="0">
                      <a:pos x="261" y="62"/>
                    </a:cxn>
                    <a:cxn ang="0">
                      <a:pos x="101" y="363"/>
                    </a:cxn>
                    <a:cxn ang="0">
                      <a:pos x="65" y="366"/>
                    </a:cxn>
                    <a:cxn ang="0">
                      <a:pos x="146" y="548"/>
                    </a:cxn>
                    <a:cxn ang="0">
                      <a:pos x="382" y="683"/>
                    </a:cxn>
                    <a:cxn ang="0">
                      <a:pos x="507" y="463"/>
                    </a:cxn>
                    <a:cxn ang="0">
                      <a:pos x="564" y="335"/>
                    </a:cxn>
                    <a:cxn ang="0">
                      <a:pos x="524" y="177"/>
                    </a:cxn>
                    <a:cxn ang="0">
                      <a:pos x="253" y="62"/>
                    </a:cxn>
                  </a:cxnLst>
                  <a:rect l="0" t="0" r="r" b="b"/>
                  <a:pathLst>
                    <a:path w="579" h="738">
                      <a:moveTo>
                        <a:pt x="261" y="62"/>
                      </a:moveTo>
                      <a:cubicBezTo>
                        <a:pt x="157" y="92"/>
                        <a:pt x="0" y="242"/>
                        <a:pt x="101" y="363"/>
                      </a:cubicBezTo>
                      <a:cubicBezTo>
                        <a:pt x="90" y="362"/>
                        <a:pt x="76" y="367"/>
                        <a:pt x="65" y="366"/>
                      </a:cubicBezTo>
                      <a:cubicBezTo>
                        <a:pt x="57" y="411"/>
                        <a:pt x="97" y="552"/>
                        <a:pt x="146" y="548"/>
                      </a:cubicBezTo>
                      <a:cubicBezTo>
                        <a:pt x="155" y="673"/>
                        <a:pt x="285" y="738"/>
                        <a:pt x="382" y="683"/>
                      </a:cubicBezTo>
                      <a:cubicBezTo>
                        <a:pt x="460" y="639"/>
                        <a:pt x="516" y="547"/>
                        <a:pt x="507" y="463"/>
                      </a:cubicBezTo>
                      <a:cubicBezTo>
                        <a:pt x="579" y="432"/>
                        <a:pt x="574" y="372"/>
                        <a:pt x="564" y="335"/>
                      </a:cubicBezTo>
                      <a:cubicBezTo>
                        <a:pt x="547" y="273"/>
                        <a:pt x="562" y="234"/>
                        <a:pt x="524" y="177"/>
                      </a:cubicBezTo>
                      <a:cubicBezTo>
                        <a:pt x="474" y="101"/>
                        <a:pt x="347" y="0"/>
                        <a:pt x="253" y="62"/>
                      </a:cubicBezTo>
                    </a:path>
                  </a:pathLst>
                </a:custGeom>
                <a:solidFill>
                  <a:srgbClr val="E2CEC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4" name="Freeform 250"/>
                <p:cNvSpPr>
                  <a:spLocks/>
                </p:cNvSpPr>
                <p:nvPr/>
              </p:nvSpPr>
              <p:spPr bwMode="gray">
                <a:xfrm>
                  <a:off x="8864594" y="6388101"/>
                  <a:ext cx="2455859" cy="2768604"/>
                </a:xfrm>
                <a:custGeom>
                  <a:avLst/>
                  <a:gdLst/>
                  <a:ahLst/>
                  <a:cxnLst>
                    <a:cxn ang="0">
                      <a:pos x="261" y="61"/>
                    </a:cxn>
                    <a:cxn ang="0">
                      <a:pos x="101" y="363"/>
                    </a:cxn>
                    <a:cxn ang="0">
                      <a:pos x="65" y="366"/>
                    </a:cxn>
                    <a:cxn ang="0">
                      <a:pos x="131" y="547"/>
                    </a:cxn>
                    <a:cxn ang="0">
                      <a:pos x="382" y="683"/>
                    </a:cxn>
                    <a:cxn ang="0">
                      <a:pos x="583" y="463"/>
                    </a:cxn>
                    <a:cxn ang="0">
                      <a:pos x="564" y="334"/>
                    </a:cxn>
                    <a:cxn ang="0">
                      <a:pos x="524" y="177"/>
                    </a:cxn>
                    <a:cxn ang="0">
                      <a:pos x="253" y="61"/>
                    </a:cxn>
                  </a:cxnLst>
                  <a:rect l="0" t="0" r="r" b="b"/>
                  <a:pathLst>
                    <a:path w="655" h="738">
                      <a:moveTo>
                        <a:pt x="261" y="61"/>
                      </a:moveTo>
                      <a:cubicBezTo>
                        <a:pt x="157" y="91"/>
                        <a:pt x="0" y="242"/>
                        <a:pt x="101" y="363"/>
                      </a:cubicBezTo>
                      <a:cubicBezTo>
                        <a:pt x="90" y="362"/>
                        <a:pt x="76" y="366"/>
                        <a:pt x="65" y="366"/>
                      </a:cubicBezTo>
                      <a:cubicBezTo>
                        <a:pt x="57" y="411"/>
                        <a:pt x="82" y="551"/>
                        <a:pt x="131" y="547"/>
                      </a:cubicBezTo>
                      <a:cubicBezTo>
                        <a:pt x="140" y="672"/>
                        <a:pt x="285" y="738"/>
                        <a:pt x="382" y="683"/>
                      </a:cubicBezTo>
                      <a:cubicBezTo>
                        <a:pt x="460" y="638"/>
                        <a:pt x="592" y="547"/>
                        <a:pt x="583" y="463"/>
                      </a:cubicBezTo>
                      <a:cubicBezTo>
                        <a:pt x="655" y="431"/>
                        <a:pt x="574" y="372"/>
                        <a:pt x="564" y="334"/>
                      </a:cubicBezTo>
                      <a:cubicBezTo>
                        <a:pt x="547" y="273"/>
                        <a:pt x="562" y="233"/>
                        <a:pt x="524" y="177"/>
                      </a:cubicBezTo>
                      <a:cubicBezTo>
                        <a:pt x="474" y="100"/>
                        <a:pt x="347" y="0"/>
                        <a:pt x="253" y="61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5" name="Freeform 251"/>
                <p:cNvSpPr>
                  <a:spLocks/>
                </p:cNvSpPr>
                <p:nvPr/>
              </p:nvSpPr>
              <p:spPr bwMode="gray">
                <a:xfrm>
                  <a:off x="5465762" y="24028401"/>
                  <a:ext cx="2281238" cy="1743075"/>
                </a:xfrm>
                <a:custGeom>
                  <a:avLst/>
                  <a:gdLst/>
                  <a:ahLst/>
                  <a:cxnLst>
                    <a:cxn ang="0">
                      <a:pos x="523" y="18"/>
                    </a:cxn>
                    <a:cxn ang="0">
                      <a:pos x="575" y="207"/>
                    </a:cxn>
                    <a:cxn ang="0">
                      <a:pos x="533" y="415"/>
                    </a:cxn>
                    <a:cxn ang="0">
                      <a:pos x="489" y="415"/>
                    </a:cxn>
                    <a:cxn ang="0">
                      <a:pos x="457" y="244"/>
                    </a:cxn>
                    <a:cxn ang="0">
                      <a:pos x="357" y="356"/>
                    </a:cxn>
                    <a:cxn ang="0">
                      <a:pos x="49" y="461"/>
                    </a:cxn>
                    <a:cxn ang="0">
                      <a:pos x="0" y="453"/>
                    </a:cxn>
                    <a:cxn ang="0">
                      <a:pos x="4" y="428"/>
                    </a:cxn>
                    <a:cxn ang="0">
                      <a:pos x="125" y="340"/>
                    </a:cxn>
                    <a:cxn ang="0">
                      <a:pos x="256" y="281"/>
                    </a:cxn>
                    <a:cxn ang="0">
                      <a:pos x="523" y="18"/>
                    </a:cxn>
                  </a:cxnLst>
                  <a:rect l="0" t="0" r="r" b="b"/>
                  <a:pathLst>
                    <a:path w="608" h="465">
                      <a:moveTo>
                        <a:pt x="523" y="18"/>
                      </a:moveTo>
                      <a:cubicBezTo>
                        <a:pt x="584" y="54"/>
                        <a:pt x="608" y="152"/>
                        <a:pt x="575" y="207"/>
                      </a:cubicBezTo>
                      <a:cubicBezTo>
                        <a:pt x="538" y="268"/>
                        <a:pt x="549" y="346"/>
                        <a:pt x="533" y="415"/>
                      </a:cubicBezTo>
                      <a:cubicBezTo>
                        <a:pt x="519" y="416"/>
                        <a:pt x="504" y="416"/>
                        <a:pt x="489" y="415"/>
                      </a:cubicBezTo>
                      <a:cubicBezTo>
                        <a:pt x="487" y="378"/>
                        <a:pt x="513" y="237"/>
                        <a:pt x="457" y="244"/>
                      </a:cubicBezTo>
                      <a:cubicBezTo>
                        <a:pt x="432" y="248"/>
                        <a:pt x="370" y="336"/>
                        <a:pt x="357" y="356"/>
                      </a:cubicBezTo>
                      <a:cubicBezTo>
                        <a:pt x="285" y="465"/>
                        <a:pt x="174" y="463"/>
                        <a:pt x="49" y="461"/>
                      </a:cubicBezTo>
                      <a:cubicBezTo>
                        <a:pt x="31" y="461"/>
                        <a:pt x="15" y="465"/>
                        <a:pt x="0" y="453"/>
                      </a:cubicBezTo>
                      <a:cubicBezTo>
                        <a:pt x="0" y="449"/>
                        <a:pt x="2" y="433"/>
                        <a:pt x="4" y="428"/>
                      </a:cubicBezTo>
                      <a:cubicBezTo>
                        <a:pt x="41" y="382"/>
                        <a:pt x="89" y="366"/>
                        <a:pt x="125" y="340"/>
                      </a:cubicBezTo>
                      <a:cubicBezTo>
                        <a:pt x="166" y="312"/>
                        <a:pt x="217" y="316"/>
                        <a:pt x="256" y="281"/>
                      </a:cubicBezTo>
                      <a:cubicBezTo>
                        <a:pt x="340" y="206"/>
                        <a:pt x="486" y="0"/>
                        <a:pt x="523" y="18"/>
                      </a:cubicBezTo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6" name="Freeform 252"/>
                <p:cNvSpPr>
                  <a:spLocks/>
                </p:cNvSpPr>
                <p:nvPr/>
              </p:nvSpPr>
              <p:spPr bwMode="gray">
                <a:xfrm>
                  <a:off x="10210800" y="25033288"/>
                  <a:ext cx="1285875" cy="1470025"/>
                </a:xfrm>
                <a:custGeom>
                  <a:avLst/>
                  <a:gdLst/>
                  <a:ahLst/>
                  <a:cxnLst>
                    <a:cxn ang="0">
                      <a:pos x="68" y="0"/>
                    </a:cxn>
                    <a:cxn ang="0">
                      <a:pos x="109" y="327"/>
                    </a:cxn>
                    <a:cxn ang="0">
                      <a:pos x="313" y="191"/>
                    </a:cxn>
                    <a:cxn ang="0">
                      <a:pos x="306" y="108"/>
                    </a:cxn>
                    <a:cxn ang="0">
                      <a:pos x="260" y="204"/>
                    </a:cxn>
                    <a:cxn ang="0">
                      <a:pos x="139" y="206"/>
                    </a:cxn>
                    <a:cxn ang="0">
                      <a:pos x="70" y="142"/>
                    </a:cxn>
                    <a:cxn ang="0">
                      <a:pos x="68" y="12"/>
                    </a:cxn>
                  </a:cxnLst>
                  <a:rect l="0" t="0" r="r" b="b"/>
                  <a:pathLst>
                    <a:path w="343" h="392">
                      <a:moveTo>
                        <a:pt x="68" y="0"/>
                      </a:moveTo>
                      <a:cubicBezTo>
                        <a:pt x="68" y="102"/>
                        <a:pt x="0" y="261"/>
                        <a:pt x="109" y="327"/>
                      </a:cubicBezTo>
                      <a:cubicBezTo>
                        <a:pt x="215" y="392"/>
                        <a:pt x="343" y="303"/>
                        <a:pt x="313" y="191"/>
                      </a:cubicBezTo>
                      <a:cubicBezTo>
                        <a:pt x="306" y="163"/>
                        <a:pt x="318" y="137"/>
                        <a:pt x="306" y="108"/>
                      </a:cubicBezTo>
                      <a:cubicBezTo>
                        <a:pt x="281" y="137"/>
                        <a:pt x="307" y="183"/>
                        <a:pt x="260" y="204"/>
                      </a:cubicBezTo>
                      <a:cubicBezTo>
                        <a:pt x="226" y="220"/>
                        <a:pt x="173" y="217"/>
                        <a:pt x="139" y="206"/>
                      </a:cubicBezTo>
                      <a:cubicBezTo>
                        <a:pt x="102" y="194"/>
                        <a:pt x="81" y="184"/>
                        <a:pt x="70" y="142"/>
                      </a:cubicBezTo>
                      <a:cubicBezTo>
                        <a:pt x="62" y="111"/>
                        <a:pt x="70" y="41"/>
                        <a:pt x="68" y="12"/>
                      </a:cubicBezTo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7" name="Freeform 253"/>
                <p:cNvSpPr>
                  <a:spLocks/>
                </p:cNvSpPr>
                <p:nvPr/>
              </p:nvSpPr>
              <p:spPr bwMode="gray">
                <a:xfrm>
                  <a:off x="10668000" y="25865138"/>
                  <a:ext cx="581025" cy="271463"/>
                </a:xfrm>
                <a:custGeom>
                  <a:avLst/>
                  <a:gdLst/>
                  <a:ahLst/>
                  <a:cxnLst>
                    <a:cxn ang="0">
                      <a:pos x="0" y="3"/>
                    </a:cxn>
                    <a:cxn ang="0">
                      <a:pos x="155" y="33"/>
                    </a:cxn>
                    <a:cxn ang="0">
                      <a:pos x="86" y="43"/>
                    </a:cxn>
                    <a:cxn ang="0">
                      <a:pos x="100" y="68"/>
                    </a:cxn>
                    <a:cxn ang="0">
                      <a:pos x="70" y="39"/>
                    </a:cxn>
                    <a:cxn ang="0">
                      <a:pos x="5" y="8"/>
                    </a:cxn>
                  </a:cxnLst>
                  <a:rect l="0" t="0" r="r" b="b"/>
                  <a:pathLst>
                    <a:path w="155" h="72">
                      <a:moveTo>
                        <a:pt x="0" y="3"/>
                      </a:moveTo>
                      <a:cubicBezTo>
                        <a:pt x="34" y="21"/>
                        <a:pt x="152" y="0"/>
                        <a:pt x="155" y="33"/>
                      </a:cubicBezTo>
                      <a:cubicBezTo>
                        <a:pt x="132" y="34"/>
                        <a:pt x="101" y="27"/>
                        <a:pt x="86" y="43"/>
                      </a:cubicBezTo>
                      <a:cubicBezTo>
                        <a:pt x="99" y="54"/>
                        <a:pt x="94" y="59"/>
                        <a:pt x="100" y="68"/>
                      </a:cubicBezTo>
                      <a:cubicBezTo>
                        <a:pt x="77" y="72"/>
                        <a:pt x="67" y="62"/>
                        <a:pt x="70" y="39"/>
                      </a:cubicBezTo>
                      <a:cubicBezTo>
                        <a:pt x="42" y="43"/>
                        <a:pt x="15" y="35"/>
                        <a:pt x="5" y="8"/>
                      </a:cubicBezTo>
                    </a:path>
                  </a:pathLst>
                </a:custGeom>
                <a:solidFill>
                  <a:srgbClr val="F0F0F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8" name="Freeform 254"/>
                <p:cNvSpPr>
                  <a:spLocks/>
                </p:cNvSpPr>
                <p:nvPr/>
              </p:nvSpPr>
              <p:spPr bwMode="gray">
                <a:xfrm>
                  <a:off x="7142162" y="10941051"/>
                  <a:ext cx="3349625" cy="3487738"/>
                </a:xfrm>
                <a:custGeom>
                  <a:avLst/>
                  <a:gdLst/>
                  <a:ahLst/>
                  <a:cxnLst>
                    <a:cxn ang="0">
                      <a:pos x="0" y="143"/>
                    </a:cxn>
                    <a:cxn ang="0">
                      <a:pos x="22" y="333"/>
                    </a:cxn>
                    <a:cxn ang="0">
                      <a:pos x="68" y="522"/>
                    </a:cxn>
                    <a:cxn ang="0">
                      <a:pos x="137" y="930"/>
                    </a:cxn>
                    <a:cxn ang="0">
                      <a:pos x="305" y="901"/>
                    </a:cxn>
                    <a:cxn ang="0">
                      <a:pos x="492" y="878"/>
                    </a:cxn>
                    <a:cxn ang="0">
                      <a:pos x="878" y="870"/>
                    </a:cxn>
                    <a:cxn ang="0">
                      <a:pos x="879" y="431"/>
                    </a:cxn>
                    <a:cxn ang="0">
                      <a:pos x="832" y="0"/>
                    </a:cxn>
                    <a:cxn ang="0">
                      <a:pos x="422" y="67"/>
                    </a:cxn>
                    <a:cxn ang="0">
                      <a:pos x="0" y="136"/>
                    </a:cxn>
                  </a:cxnLst>
                  <a:rect l="0" t="0" r="r" b="b"/>
                  <a:pathLst>
                    <a:path w="893" h="930">
                      <a:moveTo>
                        <a:pt x="0" y="143"/>
                      </a:moveTo>
                      <a:cubicBezTo>
                        <a:pt x="18" y="201"/>
                        <a:pt x="13" y="273"/>
                        <a:pt x="22" y="333"/>
                      </a:cubicBezTo>
                      <a:cubicBezTo>
                        <a:pt x="33" y="396"/>
                        <a:pt x="56" y="458"/>
                        <a:pt x="68" y="522"/>
                      </a:cubicBezTo>
                      <a:cubicBezTo>
                        <a:pt x="94" y="658"/>
                        <a:pt x="110" y="794"/>
                        <a:pt x="137" y="930"/>
                      </a:cubicBezTo>
                      <a:cubicBezTo>
                        <a:pt x="192" y="929"/>
                        <a:pt x="244" y="905"/>
                        <a:pt x="305" y="901"/>
                      </a:cubicBezTo>
                      <a:cubicBezTo>
                        <a:pt x="371" y="897"/>
                        <a:pt x="426" y="881"/>
                        <a:pt x="492" y="878"/>
                      </a:cubicBezTo>
                      <a:cubicBezTo>
                        <a:pt x="623" y="872"/>
                        <a:pt x="749" y="876"/>
                        <a:pt x="878" y="870"/>
                      </a:cubicBezTo>
                      <a:cubicBezTo>
                        <a:pt x="891" y="722"/>
                        <a:pt x="893" y="578"/>
                        <a:pt x="879" y="431"/>
                      </a:cubicBezTo>
                      <a:cubicBezTo>
                        <a:pt x="865" y="291"/>
                        <a:pt x="883" y="133"/>
                        <a:pt x="832" y="0"/>
                      </a:cubicBezTo>
                      <a:cubicBezTo>
                        <a:pt x="699" y="2"/>
                        <a:pt x="559" y="47"/>
                        <a:pt x="422" y="67"/>
                      </a:cubicBezTo>
                      <a:cubicBezTo>
                        <a:pt x="286" y="87"/>
                        <a:pt x="128" y="94"/>
                        <a:pt x="0" y="136"/>
                      </a:cubicBezTo>
                    </a:path>
                  </a:pathLst>
                </a:custGeom>
                <a:solidFill>
                  <a:srgbClr val="C0C0C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9" name="Freeform 255"/>
                <p:cNvSpPr>
                  <a:spLocks/>
                </p:cNvSpPr>
                <p:nvPr/>
              </p:nvSpPr>
              <p:spPr bwMode="gray">
                <a:xfrm>
                  <a:off x="10104437" y="11207751"/>
                  <a:ext cx="206375" cy="1833563"/>
                </a:xfrm>
                <a:custGeom>
                  <a:avLst/>
                  <a:gdLst/>
                  <a:ahLst/>
                  <a:cxnLst>
                    <a:cxn ang="0">
                      <a:pos x="21" y="0"/>
                    </a:cxn>
                    <a:cxn ang="0">
                      <a:pos x="32" y="257"/>
                    </a:cxn>
                    <a:cxn ang="0">
                      <a:pos x="50" y="489"/>
                    </a:cxn>
                    <a:cxn ang="0">
                      <a:pos x="21" y="394"/>
                    </a:cxn>
                    <a:cxn ang="0">
                      <a:pos x="6" y="265"/>
                    </a:cxn>
                    <a:cxn ang="0">
                      <a:pos x="44" y="144"/>
                    </a:cxn>
                    <a:cxn ang="0">
                      <a:pos x="32" y="19"/>
                    </a:cxn>
                  </a:cxnLst>
                  <a:rect l="0" t="0" r="r" b="b"/>
                  <a:pathLst>
                    <a:path w="55" h="489">
                      <a:moveTo>
                        <a:pt x="21" y="0"/>
                      </a:moveTo>
                      <a:cubicBezTo>
                        <a:pt x="52" y="66"/>
                        <a:pt x="32" y="182"/>
                        <a:pt x="32" y="257"/>
                      </a:cubicBezTo>
                      <a:cubicBezTo>
                        <a:pt x="32" y="337"/>
                        <a:pt x="55" y="411"/>
                        <a:pt x="50" y="489"/>
                      </a:cubicBezTo>
                      <a:cubicBezTo>
                        <a:pt x="14" y="472"/>
                        <a:pt x="24" y="430"/>
                        <a:pt x="21" y="394"/>
                      </a:cubicBezTo>
                      <a:cubicBezTo>
                        <a:pt x="17" y="351"/>
                        <a:pt x="0" y="310"/>
                        <a:pt x="6" y="265"/>
                      </a:cubicBezTo>
                      <a:cubicBezTo>
                        <a:pt x="11" y="223"/>
                        <a:pt x="38" y="186"/>
                        <a:pt x="44" y="144"/>
                      </a:cubicBezTo>
                      <a:cubicBezTo>
                        <a:pt x="50" y="100"/>
                        <a:pt x="31" y="61"/>
                        <a:pt x="32" y="19"/>
                      </a:cubicBezTo>
                    </a:path>
                  </a:pathLst>
                </a:custGeom>
                <a:solidFill>
                  <a:srgbClr val="A8B7B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0" name="Freeform 256"/>
                <p:cNvSpPr>
                  <a:spLocks/>
                </p:cNvSpPr>
                <p:nvPr/>
              </p:nvSpPr>
              <p:spPr bwMode="gray">
                <a:xfrm>
                  <a:off x="9621837" y="13254038"/>
                  <a:ext cx="865188" cy="911225"/>
                </a:xfrm>
                <a:custGeom>
                  <a:avLst/>
                  <a:gdLst/>
                  <a:ahLst/>
                  <a:cxnLst>
                    <a:cxn ang="0">
                      <a:pos x="36" y="26"/>
                    </a:cxn>
                    <a:cxn ang="0">
                      <a:pos x="0" y="42"/>
                    </a:cxn>
                    <a:cxn ang="0">
                      <a:pos x="27" y="108"/>
                    </a:cxn>
                    <a:cxn ang="0">
                      <a:pos x="57" y="158"/>
                    </a:cxn>
                    <a:cxn ang="0">
                      <a:pos x="86" y="204"/>
                    </a:cxn>
                    <a:cxn ang="0">
                      <a:pos x="212" y="243"/>
                    </a:cxn>
                    <a:cxn ang="0">
                      <a:pos x="204" y="47"/>
                    </a:cxn>
                    <a:cxn ang="0">
                      <a:pos x="31" y="26"/>
                    </a:cxn>
                  </a:cxnLst>
                  <a:rect l="0" t="0" r="r" b="b"/>
                  <a:pathLst>
                    <a:path w="231" h="243">
                      <a:moveTo>
                        <a:pt x="36" y="26"/>
                      </a:moveTo>
                      <a:cubicBezTo>
                        <a:pt x="22" y="26"/>
                        <a:pt x="9" y="32"/>
                        <a:pt x="0" y="42"/>
                      </a:cubicBezTo>
                      <a:cubicBezTo>
                        <a:pt x="16" y="52"/>
                        <a:pt x="97" y="102"/>
                        <a:pt x="27" y="108"/>
                      </a:cubicBezTo>
                      <a:cubicBezTo>
                        <a:pt x="18" y="140"/>
                        <a:pt x="42" y="139"/>
                        <a:pt x="57" y="158"/>
                      </a:cubicBezTo>
                      <a:cubicBezTo>
                        <a:pt x="69" y="174"/>
                        <a:pt x="66" y="189"/>
                        <a:pt x="86" y="204"/>
                      </a:cubicBezTo>
                      <a:cubicBezTo>
                        <a:pt x="114" y="225"/>
                        <a:pt x="175" y="240"/>
                        <a:pt x="212" y="243"/>
                      </a:cubicBezTo>
                      <a:cubicBezTo>
                        <a:pt x="197" y="188"/>
                        <a:pt x="231" y="98"/>
                        <a:pt x="204" y="47"/>
                      </a:cubicBezTo>
                      <a:cubicBezTo>
                        <a:pt x="185" y="10"/>
                        <a:pt x="69" y="0"/>
                        <a:pt x="31" y="26"/>
                      </a:cubicBezTo>
                    </a:path>
                  </a:pathLst>
                </a:custGeom>
                <a:solidFill>
                  <a:srgbClr val="A8B7B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1" name="Freeform 257"/>
                <p:cNvSpPr>
                  <a:spLocks/>
                </p:cNvSpPr>
                <p:nvPr/>
              </p:nvSpPr>
              <p:spPr bwMode="gray">
                <a:xfrm>
                  <a:off x="9699625" y="13127038"/>
                  <a:ext cx="1522413" cy="1431925"/>
                </a:xfrm>
                <a:custGeom>
                  <a:avLst/>
                  <a:gdLst/>
                  <a:ahLst/>
                  <a:cxnLst>
                    <a:cxn ang="0">
                      <a:pos x="326" y="189"/>
                    </a:cxn>
                    <a:cxn ang="0">
                      <a:pos x="310" y="159"/>
                    </a:cxn>
                    <a:cxn ang="0">
                      <a:pos x="274" y="81"/>
                    </a:cxn>
                    <a:cxn ang="0">
                      <a:pos x="264" y="24"/>
                    </a:cxn>
                    <a:cxn ang="0">
                      <a:pos x="1" y="39"/>
                    </a:cxn>
                    <a:cxn ang="0">
                      <a:pos x="8" y="69"/>
                    </a:cxn>
                    <a:cxn ang="0">
                      <a:pos x="92" y="83"/>
                    </a:cxn>
                    <a:cxn ang="0">
                      <a:pos x="9" y="122"/>
                    </a:cxn>
                    <a:cxn ang="0">
                      <a:pos x="14" y="157"/>
                    </a:cxn>
                    <a:cxn ang="0">
                      <a:pos x="52" y="160"/>
                    </a:cxn>
                    <a:cxn ang="0">
                      <a:pos x="112" y="198"/>
                    </a:cxn>
                    <a:cxn ang="0">
                      <a:pos x="211" y="244"/>
                    </a:cxn>
                    <a:cxn ang="0">
                      <a:pos x="326" y="204"/>
                    </a:cxn>
                  </a:cxnLst>
                  <a:rect l="0" t="0" r="r" b="b"/>
                  <a:pathLst>
                    <a:path w="406" h="382">
                      <a:moveTo>
                        <a:pt x="326" y="189"/>
                      </a:moveTo>
                      <a:cubicBezTo>
                        <a:pt x="320" y="179"/>
                        <a:pt x="320" y="168"/>
                        <a:pt x="310" y="159"/>
                      </a:cubicBezTo>
                      <a:cubicBezTo>
                        <a:pt x="328" y="127"/>
                        <a:pt x="306" y="96"/>
                        <a:pt x="274" y="81"/>
                      </a:cubicBezTo>
                      <a:cubicBezTo>
                        <a:pt x="285" y="53"/>
                        <a:pt x="278" y="36"/>
                        <a:pt x="264" y="24"/>
                      </a:cubicBezTo>
                      <a:cubicBezTo>
                        <a:pt x="249" y="15"/>
                        <a:pt x="58" y="0"/>
                        <a:pt x="1" y="39"/>
                      </a:cubicBezTo>
                      <a:cubicBezTo>
                        <a:pt x="0" y="49"/>
                        <a:pt x="7" y="59"/>
                        <a:pt x="8" y="69"/>
                      </a:cubicBezTo>
                      <a:cubicBezTo>
                        <a:pt x="38" y="80"/>
                        <a:pt x="67" y="73"/>
                        <a:pt x="92" y="83"/>
                      </a:cubicBezTo>
                      <a:cubicBezTo>
                        <a:pt x="71" y="101"/>
                        <a:pt x="37" y="115"/>
                        <a:pt x="9" y="122"/>
                      </a:cubicBezTo>
                      <a:cubicBezTo>
                        <a:pt x="6" y="134"/>
                        <a:pt x="12" y="146"/>
                        <a:pt x="14" y="157"/>
                      </a:cubicBezTo>
                      <a:cubicBezTo>
                        <a:pt x="26" y="155"/>
                        <a:pt x="39" y="163"/>
                        <a:pt x="52" y="160"/>
                      </a:cubicBezTo>
                      <a:cubicBezTo>
                        <a:pt x="49" y="198"/>
                        <a:pt x="79" y="205"/>
                        <a:pt x="112" y="198"/>
                      </a:cubicBezTo>
                      <a:cubicBezTo>
                        <a:pt x="112" y="254"/>
                        <a:pt x="173" y="228"/>
                        <a:pt x="211" y="244"/>
                      </a:cubicBezTo>
                      <a:cubicBezTo>
                        <a:pt x="223" y="382"/>
                        <a:pt x="406" y="311"/>
                        <a:pt x="326" y="204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2" name="Freeform 258"/>
                <p:cNvSpPr>
                  <a:spLocks/>
                </p:cNvSpPr>
                <p:nvPr/>
              </p:nvSpPr>
              <p:spPr bwMode="gray">
                <a:xfrm>
                  <a:off x="9704387" y="13273088"/>
                  <a:ext cx="1517650" cy="1285875"/>
                </a:xfrm>
                <a:custGeom>
                  <a:avLst/>
                  <a:gdLst/>
                  <a:ahLst/>
                  <a:cxnLst>
                    <a:cxn ang="0">
                      <a:pos x="326" y="165"/>
                    </a:cxn>
                    <a:cxn ang="0">
                      <a:pos x="287" y="274"/>
                    </a:cxn>
                    <a:cxn ang="0">
                      <a:pos x="213" y="199"/>
                    </a:cxn>
                    <a:cxn ang="0">
                      <a:pos x="139" y="188"/>
                    </a:cxn>
                    <a:cxn ang="0">
                      <a:pos x="112" y="159"/>
                    </a:cxn>
                    <a:cxn ang="0">
                      <a:pos x="78" y="154"/>
                    </a:cxn>
                    <a:cxn ang="0">
                      <a:pos x="55" y="114"/>
                    </a:cxn>
                    <a:cxn ang="0">
                      <a:pos x="15" y="91"/>
                    </a:cxn>
                    <a:cxn ang="0">
                      <a:pos x="104" y="41"/>
                    </a:cxn>
                    <a:cxn ang="0">
                      <a:pos x="96" y="37"/>
                    </a:cxn>
                    <a:cxn ang="0">
                      <a:pos x="1" y="0"/>
                    </a:cxn>
                    <a:cxn ang="0">
                      <a:pos x="8" y="30"/>
                    </a:cxn>
                    <a:cxn ang="0">
                      <a:pos x="92" y="44"/>
                    </a:cxn>
                    <a:cxn ang="0">
                      <a:pos x="9" y="83"/>
                    </a:cxn>
                    <a:cxn ang="0">
                      <a:pos x="14" y="118"/>
                    </a:cxn>
                    <a:cxn ang="0">
                      <a:pos x="52" y="121"/>
                    </a:cxn>
                    <a:cxn ang="0">
                      <a:pos x="112" y="159"/>
                    </a:cxn>
                    <a:cxn ang="0">
                      <a:pos x="211" y="205"/>
                    </a:cxn>
                    <a:cxn ang="0">
                      <a:pos x="326" y="165"/>
                    </a:cxn>
                  </a:cxnLst>
                  <a:rect l="0" t="0" r="r" b="b"/>
                  <a:pathLst>
                    <a:path w="405" h="343">
                      <a:moveTo>
                        <a:pt x="326" y="165"/>
                      </a:moveTo>
                      <a:cubicBezTo>
                        <a:pt x="325" y="164"/>
                        <a:pt x="376" y="255"/>
                        <a:pt x="287" y="274"/>
                      </a:cubicBezTo>
                      <a:cubicBezTo>
                        <a:pt x="217" y="281"/>
                        <a:pt x="227" y="202"/>
                        <a:pt x="213" y="199"/>
                      </a:cubicBezTo>
                      <a:cubicBezTo>
                        <a:pt x="196" y="197"/>
                        <a:pt x="157" y="191"/>
                        <a:pt x="139" y="188"/>
                      </a:cubicBezTo>
                      <a:cubicBezTo>
                        <a:pt x="118" y="188"/>
                        <a:pt x="127" y="162"/>
                        <a:pt x="112" y="159"/>
                      </a:cubicBezTo>
                      <a:cubicBezTo>
                        <a:pt x="97" y="156"/>
                        <a:pt x="92" y="157"/>
                        <a:pt x="78" y="154"/>
                      </a:cubicBezTo>
                      <a:cubicBezTo>
                        <a:pt x="62" y="150"/>
                        <a:pt x="67" y="118"/>
                        <a:pt x="55" y="114"/>
                      </a:cubicBezTo>
                      <a:cubicBezTo>
                        <a:pt x="32" y="106"/>
                        <a:pt x="17" y="99"/>
                        <a:pt x="15" y="91"/>
                      </a:cubicBezTo>
                      <a:cubicBezTo>
                        <a:pt x="3" y="84"/>
                        <a:pt x="116" y="46"/>
                        <a:pt x="104" y="41"/>
                      </a:cubicBezTo>
                      <a:cubicBezTo>
                        <a:pt x="101" y="39"/>
                        <a:pt x="98" y="38"/>
                        <a:pt x="96" y="37"/>
                      </a:cubicBezTo>
                      <a:cubicBezTo>
                        <a:pt x="7" y="28"/>
                        <a:pt x="15" y="4"/>
                        <a:pt x="1" y="0"/>
                      </a:cubicBezTo>
                      <a:cubicBezTo>
                        <a:pt x="0" y="10"/>
                        <a:pt x="7" y="20"/>
                        <a:pt x="8" y="30"/>
                      </a:cubicBezTo>
                      <a:cubicBezTo>
                        <a:pt x="37" y="41"/>
                        <a:pt x="67" y="34"/>
                        <a:pt x="92" y="44"/>
                      </a:cubicBezTo>
                      <a:cubicBezTo>
                        <a:pt x="71" y="62"/>
                        <a:pt x="37" y="76"/>
                        <a:pt x="9" y="83"/>
                      </a:cubicBezTo>
                      <a:cubicBezTo>
                        <a:pt x="6" y="95"/>
                        <a:pt x="11" y="107"/>
                        <a:pt x="14" y="118"/>
                      </a:cubicBezTo>
                      <a:cubicBezTo>
                        <a:pt x="26" y="116"/>
                        <a:pt x="39" y="124"/>
                        <a:pt x="52" y="121"/>
                      </a:cubicBezTo>
                      <a:cubicBezTo>
                        <a:pt x="49" y="159"/>
                        <a:pt x="78" y="166"/>
                        <a:pt x="112" y="159"/>
                      </a:cubicBezTo>
                      <a:cubicBezTo>
                        <a:pt x="111" y="215"/>
                        <a:pt x="172" y="189"/>
                        <a:pt x="211" y="205"/>
                      </a:cubicBezTo>
                      <a:cubicBezTo>
                        <a:pt x="223" y="343"/>
                        <a:pt x="405" y="272"/>
                        <a:pt x="326" y="165"/>
                      </a:cubicBezTo>
                    </a:path>
                  </a:pathLst>
                </a:custGeom>
                <a:solidFill>
                  <a:srgbClr val="E2CEC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3" name="Freeform 259"/>
                <p:cNvSpPr>
                  <a:spLocks/>
                </p:cNvSpPr>
                <p:nvPr/>
              </p:nvSpPr>
              <p:spPr bwMode="gray">
                <a:xfrm>
                  <a:off x="8413750" y="6054726"/>
                  <a:ext cx="3390900" cy="3656013"/>
                </a:xfrm>
                <a:custGeom>
                  <a:avLst/>
                  <a:gdLst/>
                  <a:ahLst/>
                  <a:cxnLst>
                    <a:cxn ang="0">
                      <a:pos x="426" y="188"/>
                    </a:cxn>
                    <a:cxn ang="0">
                      <a:pos x="273" y="300"/>
                    </a:cxn>
                    <a:cxn ang="0">
                      <a:pos x="185" y="469"/>
                    </a:cxn>
                    <a:cxn ang="0">
                      <a:pos x="216" y="585"/>
                    </a:cxn>
                    <a:cxn ang="0">
                      <a:pos x="294" y="750"/>
                    </a:cxn>
                    <a:cxn ang="0">
                      <a:pos x="159" y="838"/>
                    </a:cxn>
                    <a:cxn ang="0">
                      <a:pos x="10" y="907"/>
                    </a:cxn>
                    <a:cxn ang="0">
                      <a:pos x="47" y="757"/>
                    </a:cxn>
                    <a:cxn ang="0">
                      <a:pos x="23" y="786"/>
                    </a:cxn>
                    <a:cxn ang="0">
                      <a:pos x="1" y="779"/>
                    </a:cxn>
                    <a:cxn ang="0">
                      <a:pos x="38" y="542"/>
                    </a:cxn>
                    <a:cxn ang="0">
                      <a:pos x="124" y="348"/>
                    </a:cxn>
                    <a:cxn ang="0">
                      <a:pos x="434" y="113"/>
                    </a:cxn>
                    <a:cxn ang="0">
                      <a:pos x="775" y="347"/>
                    </a:cxn>
                    <a:cxn ang="0">
                      <a:pos x="843" y="597"/>
                    </a:cxn>
                    <a:cxn ang="0">
                      <a:pos x="860" y="726"/>
                    </a:cxn>
                    <a:cxn ang="0">
                      <a:pos x="829" y="796"/>
                    </a:cxn>
                    <a:cxn ang="0">
                      <a:pos x="825" y="932"/>
                    </a:cxn>
                    <a:cxn ang="0">
                      <a:pos x="776" y="901"/>
                    </a:cxn>
                    <a:cxn ang="0">
                      <a:pos x="795" y="975"/>
                    </a:cxn>
                    <a:cxn ang="0">
                      <a:pos x="641" y="809"/>
                    </a:cxn>
                    <a:cxn ang="0">
                      <a:pos x="586" y="725"/>
                    </a:cxn>
                    <a:cxn ang="0">
                      <a:pos x="640" y="599"/>
                    </a:cxn>
                    <a:cxn ang="0">
                      <a:pos x="692" y="452"/>
                    </a:cxn>
                    <a:cxn ang="0">
                      <a:pos x="647" y="467"/>
                    </a:cxn>
                    <a:cxn ang="0">
                      <a:pos x="601" y="277"/>
                    </a:cxn>
                    <a:cxn ang="0">
                      <a:pos x="411" y="188"/>
                    </a:cxn>
                  </a:cxnLst>
                  <a:rect l="0" t="0" r="r" b="b"/>
                  <a:pathLst>
                    <a:path w="904" h="975">
                      <a:moveTo>
                        <a:pt x="426" y="188"/>
                      </a:moveTo>
                      <a:cubicBezTo>
                        <a:pt x="381" y="224"/>
                        <a:pt x="302" y="256"/>
                        <a:pt x="273" y="300"/>
                      </a:cubicBezTo>
                      <a:cubicBezTo>
                        <a:pt x="232" y="363"/>
                        <a:pt x="221" y="452"/>
                        <a:pt x="185" y="469"/>
                      </a:cubicBezTo>
                      <a:cubicBezTo>
                        <a:pt x="180" y="519"/>
                        <a:pt x="196" y="554"/>
                        <a:pt x="216" y="585"/>
                      </a:cubicBezTo>
                      <a:cubicBezTo>
                        <a:pt x="251" y="638"/>
                        <a:pt x="272" y="654"/>
                        <a:pt x="294" y="750"/>
                      </a:cubicBezTo>
                      <a:cubicBezTo>
                        <a:pt x="232" y="765"/>
                        <a:pt x="211" y="799"/>
                        <a:pt x="159" y="838"/>
                      </a:cubicBezTo>
                      <a:cubicBezTo>
                        <a:pt x="114" y="872"/>
                        <a:pt x="74" y="921"/>
                        <a:pt x="10" y="907"/>
                      </a:cubicBezTo>
                      <a:cubicBezTo>
                        <a:pt x="29" y="857"/>
                        <a:pt x="94" y="820"/>
                        <a:pt x="47" y="757"/>
                      </a:cubicBezTo>
                      <a:cubicBezTo>
                        <a:pt x="37" y="768"/>
                        <a:pt x="31" y="770"/>
                        <a:pt x="23" y="786"/>
                      </a:cubicBezTo>
                      <a:cubicBezTo>
                        <a:pt x="17" y="785"/>
                        <a:pt x="0" y="779"/>
                        <a:pt x="1" y="779"/>
                      </a:cubicBezTo>
                      <a:cubicBezTo>
                        <a:pt x="63" y="731"/>
                        <a:pt x="17" y="612"/>
                        <a:pt x="38" y="542"/>
                      </a:cubicBezTo>
                      <a:cubicBezTo>
                        <a:pt x="60" y="467"/>
                        <a:pt x="107" y="426"/>
                        <a:pt x="124" y="348"/>
                      </a:cubicBezTo>
                      <a:cubicBezTo>
                        <a:pt x="147" y="239"/>
                        <a:pt x="291" y="0"/>
                        <a:pt x="434" y="113"/>
                      </a:cubicBezTo>
                      <a:cubicBezTo>
                        <a:pt x="599" y="23"/>
                        <a:pt x="740" y="211"/>
                        <a:pt x="775" y="347"/>
                      </a:cubicBezTo>
                      <a:cubicBezTo>
                        <a:pt x="798" y="436"/>
                        <a:pt x="843" y="491"/>
                        <a:pt x="843" y="597"/>
                      </a:cubicBezTo>
                      <a:cubicBezTo>
                        <a:pt x="843" y="646"/>
                        <a:pt x="853" y="684"/>
                        <a:pt x="860" y="726"/>
                      </a:cubicBezTo>
                      <a:cubicBezTo>
                        <a:pt x="865" y="754"/>
                        <a:pt x="904" y="806"/>
                        <a:pt x="829" y="796"/>
                      </a:cubicBezTo>
                      <a:cubicBezTo>
                        <a:pt x="831" y="845"/>
                        <a:pt x="797" y="886"/>
                        <a:pt x="825" y="932"/>
                      </a:cubicBezTo>
                      <a:cubicBezTo>
                        <a:pt x="813" y="921"/>
                        <a:pt x="790" y="914"/>
                        <a:pt x="776" y="901"/>
                      </a:cubicBezTo>
                      <a:cubicBezTo>
                        <a:pt x="771" y="929"/>
                        <a:pt x="778" y="953"/>
                        <a:pt x="795" y="975"/>
                      </a:cubicBezTo>
                      <a:cubicBezTo>
                        <a:pt x="652" y="967"/>
                        <a:pt x="675" y="902"/>
                        <a:pt x="641" y="809"/>
                      </a:cubicBezTo>
                      <a:cubicBezTo>
                        <a:pt x="612" y="759"/>
                        <a:pt x="575" y="788"/>
                        <a:pt x="586" y="725"/>
                      </a:cubicBezTo>
                      <a:cubicBezTo>
                        <a:pt x="592" y="690"/>
                        <a:pt x="631" y="633"/>
                        <a:pt x="640" y="599"/>
                      </a:cubicBezTo>
                      <a:cubicBezTo>
                        <a:pt x="686" y="603"/>
                        <a:pt x="719" y="490"/>
                        <a:pt x="692" y="452"/>
                      </a:cubicBezTo>
                      <a:cubicBezTo>
                        <a:pt x="679" y="454"/>
                        <a:pt x="672" y="431"/>
                        <a:pt x="647" y="467"/>
                      </a:cubicBezTo>
                      <a:cubicBezTo>
                        <a:pt x="636" y="407"/>
                        <a:pt x="639" y="325"/>
                        <a:pt x="601" y="277"/>
                      </a:cubicBezTo>
                      <a:cubicBezTo>
                        <a:pt x="563" y="230"/>
                        <a:pt x="467" y="198"/>
                        <a:pt x="411" y="188"/>
                      </a:cubicBezTo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4" name="Freeform 260"/>
                <p:cNvSpPr>
                  <a:spLocks/>
                </p:cNvSpPr>
                <p:nvPr/>
              </p:nvSpPr>
              <p:spPr bwMode="gray">
                <a:xfrm>
                  <a:off x="9107487" y="7180263"/>
                  <a:ext cx="330200" cy="798513"/>
                </a:xfrm>
                <a:custGeom>
                  <a:avLst/>
                  <a:gdLst/>
                  <a:ahLst/>
                  <a:cxnLst>
                    <a:cxn ang="0">
                      <a:pos x="88" y="0"/>
                    </a:cxn>
                    <a:cxn ang="0">
                      <a:pos x="44" y="213"/>
                    </a:cxn>
                    <a:cxn ang="0">
                      <a:pos x="0" y="169"/>
                    </a:cxn>
                  </a:cxnLst>
                  <a:rect l="0" t="0" r="r" b="b"/>
                  <a:pathLst>
                    <a:path w="88" h="213">
                      <a:moveTo>
                        <a:pt x="88" y="0"/>
                      </a:moveTo>
                      <a:cubicBezTo>
                        <a:pt x="47" y="63"/>
                        <a:pt x="80" y="134"/>
                        <a:pt x="44" y="213"/>
                      </a:cubicBezTo>
                      <a:cubicBezTo>
                        <a:pt x="12" y="198"/>
                        <a:pt x="36" y="152"/>
                        <a:pt x="0" y="169"/>
                      </a:cubicBezTo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5" name="Freeform 261"/>
                <p:cNvSpPr>
                  <a:spLocks/>
                </p:cNvSpPr>
                <p:nvPr/>
              </p:nvSpPr>
              <p:spPr bwMode="gray">
                <a:xfrm>
                  <a:off x="8661400" y="6516688"/>
                  <a:ext cx="1222375" cy="2128838"/>
                </a:xfrm>
                <a:custGeom>
                  <a:avLst/>
                  <a:gdLst/>
                  <a:ahLst/>
                  <a:cxnLst>
                    <a:cxn ang="0">
                      <a:pos x="322" y="0"/>
                    </a:cxn>
                    <a:cxn ang="0">
                      <a:pos x="102" y="243"/>
                    </a:cxn>
                    <a:cxn ang="0">
                      <a:pos x="69" y="315"/>
                    </a:cxn>
                    <a:cxn ang="0">
                      <a:pos x="64" y="424"/>
                    </a:cxn>
                    <a:cxn ang="0">
                      <a:pos x="0" y="568"/>
                    </a:cxn>
                    <a:cxn ang="0">
                      <a:pos x="38" y="505"/>
                    </a:cxn>
                    <a:cxn ang="0">
                      <a:pos x="45" y="414"/>
                    </a:cxn>
                    <a:cxn ang="0">
                      <a:pos x="76" y="232"/>
                    </a:cxn>
                    <a:cxn ang="0">
                      <a:pos x="149" y="92"/>
                    </a:cxn>
                    <a:cxn ang="0">
                      <a:pos x="295" y="16"/>
                    </a:cxn>
                    <a:cxn ang="0">
                      <a:pos x="326" y="4"/>
                    </a:cxn>
                  </a:cxnLst>
                  <a:rect l="0" t="0" r="r" b="b"/>
                  <a:pathLst>
                    <a:path w="326" h="568">
                      <a:moveTo>
                        <a:pt x="322" y="0"/>
                      </a:moveTo>
                      <a:cubicBezTo>
                        <a:pt x="206" y="0"/>
                        <a:pt x="132" y="155"/>
                        <a:pt x="102" y="243"/>
                      </a:cubicBezTo>
                      <a:cubicBezTo>
                        <a:pt x="94" y="269"/>
                        <a:pt x="76" y="287"/>
                        <a:pt x="69" y="315"/>
                      </a:cubicBezTo>
                      <a:cubicBezTo>
                        <a:pt x="60" y="349"/>
                        <a:pt x="66" y="388"/>
                        <a:pt x="64" y="424"/>
                      </a:cubicBezTo>
                      <a:cubicBezTo>
                        <a:pt x="62" y="483"/>
                        <a:pt x="38" y="526"/>
                        <a:pt x="0" y="568"/>
                      </a:cubicBezTo>
                      <a:cubicBezTo>
                        <a:pt x="10" y="545"/>
                        <a:pt x="29" y="527"/>
                        <a:pt x="38" y="505"/>
                      </a:cubicBezTo>
                      <a:cubicBezTo>
                        <a:pt x="49" y="477"/>
                        <a:pt x="44" y="445"/>
                        <a:pt x="45" y="414"/>
                      </a:cubicBezTo>
                      <a:cubicBezTo>
                        <a:pt x="48" y="355"/>
                        <a:pt x="53" y="284"/>
                        <a:pt x="76" y="232"/>
                      </a:cubicBezTo>
                      <a:cubicBezTo>
                        <a:pt x="96" y="184"/>
                        <a:pt x="110" y="130"/>
                        <a:pt x="149" y="92"/>
                      </a:cubicBezTo>
                      <a:cubicBezTo>
                        <a:pt x="191" y="51"/>
                        <a:pt x="239" y="29"/>
                        <a:pt x="295" y="16"/>
                      </a:cubicBezTo>
                      <a:cubicBezTo>
                        <a:pt x="309" y="12"/>
                        <a:pt x="317" y="15"/>
                        <a:pt x="326" y="4"/>
                      </a:cubicBezTo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6" name="Freeform 262"/>
                <p:cNvSpPr>
                  <a:spLocks/>
                </p:cNvSpPr>
                <p:nvPr/>
              </p:nvSpPr>
              <p:spPr bwMode="gray">
                <a:xfrm>
                  <a:off x="8477250" y="8532813"/>
                  <a:ext cx="652463" cy="900113"/>
                </a:xfrm>
                <a:custGeom>
                  <a:avLst/>
                  <a:gdLst/>
                  <a:ahLst/>
                  <a:cxnLst>
                    <a:cxn ang="0">
                      <a:pos x="4" y="240"/>
                    </a:cxn>
                    <a:cxn ang="0">
                      <a:pos x="122" y="158"/>
                    </a:cxn>
                    <a:cxn ang="0">
                      <a:pos x="162" y="88"/>
                    </a:cxn>
                    <a:cxn ang="0">
                      <a:pos x="174" y="0"/>
                    </a:cxn>
                    <a:cxn ang="0">
                      <a:pos x="107" y="122"/>
                    </a:cxn>
                    <a:cxn ang="0">
                      <a:pos x="12" y="221"/>
                    </a:cxn>
                    <a:cxn ang="0">
                      <a:pos x="0" y="236"/>
                    </a:cxn>
                  </a:cxnLst>
                  <a:rect l="0" t="0" r="r" b="b"/>
                  <a:pathLst>
                    <a:path w="174" h="240">
                      <a:moveTo>
                        <a:pt x="4" y="240"/>
                      </a:moveTo>
                      <a:cubicBezTo>
                        <a:pt x="54" y="232"/>
                        <a:pt x="92" y="197"/>
                        <a:pt x="122" y="158"/>
                      </a:cubicBezTo>
                      <a:cubicBezTo>
                        <a:pt x="138" y="138"/>
                        <a:pt x="155" y="114"/>
                        <a:pt x="162" y="88"/>
                      </a:cubicBezTo>
                      <a:cubicBezTo>
                        <a:pt x="169" y="63"/>
                        <a:pt x="165" y="17"/>
                        <a:pt x="174" y="0"/>
                      </a:cubicBezTo>
                      <a:cubicBezTo>
                        <a:pt x="168" y="41"/>
                        <a:pt x="133" y="87"/>
                        <a:pt x="107" y="122"/>
                      </a:cubicBezTo>
                      <a:cubicBezTo>
                        <a:pt x="85" y="152"/>
                        <a:pt x="47" y="215"/>
                        <a:pt x="12" y="221"/>
                      </a:cubicBezTo>
                      <a:cubicBezTo>
                        <a:pt x="11" y="232"/>
                        <a:pt x="5" y="231"/>
                        <a:pt x="0" y="236"/>
                      </a:cubicBezTo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7" name="Freeform 263"/>
                <p:cNvSpPr>
                  <a:spLocks/>
                </p:cNvSpPr>
                <p:nvPr/>
              </p:nvSpPr>
              <p:spPr bwMode="gray">
                <a:xfrm>
                  <a:off x="11020425" y="7186613"/>
                  <a:ext cx="566738" cy="2262188"/>
                </a:xfrm>
                <a:custGeom>
                  <a:avLst/>
                  <a:gdLst/>
                  <a:ahLst/>
                  <a:cxnLst>
                    <a:cxn ang="0">
                      <a:pos x="0" y="15"/>
                    </a:cxn>
                    <a:cxn ang="0">
                      <a:pos x="56" y="303"/>
                    </a:cxn>
                    <a:cxn ang="0">
                      <a:pos x="114" y="603"/>
                    </a:cxn>
                    <a:cxn ang="0">
                      <a:pos x="85" y="544"/>
                    </a:cxn>
                    <a:cxn ang="0">
                      <a:pos x="68" y="473"/>
                    </a:cxn>
                    <a:cxn ang="0">
                      <a:pos x="77" y="303"/>
                    </a:cxn>
                    <a:cxn ang="0">
                      <a:pos x="151" y="488"/>
                    </a:cxn>
                    <a:cxn ang="0">
                      <a:pos x="99" y="239"/>
                    </a:cxn>
                    <a:cxn ang="0">
                      <a:pos x="5" y="0"/>
                    </a:cxn>
                    <a:cxn ang="0">
                      <a:pos x="4" y="11"/>
                    </a:cxn>
                  </a:cxnLst>
                  <a:rect l="0" t="0" r="r" b="b"/>
                  <a:pathLst>
                    <a:path w="151" h="603">
                      <a:moveTo>
                        <a:pt x="0" y="15"/>
                      </a:moveTo>
                      <a:cubicBezTo>
                        <a:pt x="88" y="81"/>
                        <a:pt x="66" y="208"/>
                        <a:pt x="56" y="303"/>
                      </a:cubicBezTo>
                      <a:cubicBezTo>
                        <a:pt x="46" y="402"/>
                        <a:pt x="53" y="531"/>
                        <a:pt x="114" y="603"/>
                      </a:cubicBezTo>
                      <a:cubicBezTo>
                        <a:pt x="113" y="578"/>
                        <a:pt x="94" y="565"/>
                        <a:pt x="85" y="544"/>
                      </a:cubicBezTo>
                      <a:cubicBezTo>
                        <a:pt x="73" y="520"/>
                        <a:pt x="71" y="501"/>
                        <a:pt x="68" y="473"/>
                      </a:cubicBezTo>
                      <a:cubicBezTo>
                        <a:pt x="62" y="413"/>
                        <a:pt x="70" y="360"/>
                        <a:pt x="77" y="303"/>
                      </a:cubicBezTo>
                      <a:cubicBezTo>
                        <a:pt x="98" y="347"/>
                        <a:pt x="86" y="475"/>
                        <a:pt x="151" y="488"/>
                      </a:cubicBezTo>
                      <a:cubicBezTo>
                        <a:pt x="105" y="428"/>
                        <a:pt x="105" y="314"/>
                        <a:pt x="99" y="239"/>
                      </a:cubicBezTo>
                      <a:cubicBezTo>
                        <a:pt x="92" y="154"/>
                        <a:pt x="81" y="52"/>
                        <a:pt x="5" y="0"/>
                      </a:cubicBezTo>
                      <a:cubicBezTo>
                        <a:pt x="4" y="4"/>
                        <a:pt x="5" y="7"/>
                        <a:pt x="4" y="11"/>
                      </a:cubicBezTo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8" name="Freeform 264"/>
                <p:cNvSpPr>
                  <a:spLocks/>
                </p:cNvSpPr>
                <p:nvPr/>
              </p:nvSpPr>
              <p:spPr bwMode="gray">
                <a:xfrm>
                  <a:off x="10772775" y="10580688"/>
                  <a:ext cx="1293813" cy="2940050"/>
                </a:xfrm>
                <a:custGeom>
                  <a:avLst/>
                  <a:gdLst/>
                  <a:ahLst/>
                  <a:cxnLst>
                    <a:cxn ang="0">
                      <a:pos x="184" y="520"/>
                    </a:cxn>
                    <a:cxn ang="0">
                      <a:pos x="157" y="273"/>
                    </a:cxn>
                    <a:cxn ang="0">
                      <a:pos x="206" y="402"/>
                    </a:cxn>
                    <a:cxn ang="0">
                      <a:pos x="339" y="0"/>
                    </a:cxn>
                    <a:cxn ang="0">
                      <a:pos x="286" y="105"/>
                    </a:cxn>
                    <a:cxn ang="0">
                      <a:pos x="263" y="232"/>
                    </a:cxn>
                    <a:cxn ang="0">
                      <a:pos x="237" y="376"/>
                    </a:cxn>
                    <a:cxn ang="0">
                      <a:pos x="207" y="494"/>
                    </a:cxn>
                    <a:cxn ang="0">
                      <a:pos x="145" y="784"/>
                    </a:cxn>
                    <a:cxn ang="0">
                      <a:pos x="113" y="634"/>
                    </a:cxn>
                    <a:cxn ang="0">
                      <a:pos x="17" y="547"/>
                    </a:cxn>
                    <a:cxn ang="0">
                      <a:pos x="118" y="577"/>
                    </a:cxn>
                    <a:cxn ang="0">
                      <a:pos x="195" y="520"/>
                    </a:cxn>
                  </a:cxnLst>
                  <a:rect l="0" t="0" r="r" b="b"/>
                  <a:pathLst>
                    <a:path w="345" h="784">
                      <a:moveTo>
                        <a:pt x="184" y="520"/>
                      </a:moveTo>
                      <a:cubicBezTo>
                        <a:pt x="263" y="493"/>
                        <a:pt x="98" y="327"/>
                        <a:pt x="157" y="273"/>
                      </a:cubicBezTo>
                      <a:cubicBezTo>
                        <a:pt x="186" y="305"/>
                        <a:pt x="160" y="371"/>
                        <a:pt x="206" y="402"/>
                      </a:cubicBezTo>
                      <a:cubicBezTo>
                        <a:pt x="263" y="268"/>
                        <a:pt x="280" y="128"/>
                        <a:pt x="339" y="0"/>
                      </a:cubicBezTo>
                      <a:cubicBezTo>
                        <a:pt x="345" y="33"/>
                        <a:pt x="302" y="74"/>
                        <a:pt x="286" y="105"/>
                      </a:cubicBezTo>
                      <a:cubicBezTo>
                        <a:pt x="266" y="143"/>
                        <a:pt x="273" y="188"/>
                        <a:pt x="263" y="232"/>
                      </a:cubicBezTo>
                      <a:cubicBezTo>
                        <a:pt x="253" y="280"/>
                        <a:pt x="241" y="326"/>
                        <a:pt x="237" y="376"/>
                      </a:cubicBezTo>
                      <a:cubicBezTo>
                        <a:pt x="234" y="414"/>
                        <a:pt x="237" y="469"/>
                        <a:pt x="207" y="494"/>
                      </a:cubicBezTo>
                      <a:cubicBezTo>
                        <a:pt x="177" y="598"/>
                        <a:pt x="90" y="673"/>
                        <a:pt x="145" y="784"/>
                      </a:cubicBezTo>
                      <a:cubicBezTo>
                        <a:pt x="81" y="763"/>
                        <a:pt x="95" y="678"/>
                        <a:pt x="113" y="634"/>
                      </a:cubicBezTo>
                      <a:cubicBezTo>
                        <a:pt x="151" y="540"/>
                        <a:pt x="0" y="636"/>
                        <a:pt x="17" y="547"/>
                      </a:cubicBezTo>
                      <a:cubicBezTo>
                        <a:pt x="74" y="535"/>
                        <a:pt x="74" y="564"/>
                        <a:pt x="118" y="577"/>
                      </a:cubicBezTo>
                      <a:cubicBezTo>
                        <a:pt x="155" y="588"/>
                        <a:pt x="177" y="544"/>
                        <a:pt x="195" y="520"/>
                      </a:cubicBezTo>
                    </a:path>
                  </a:pathLst>
                </a:custGeom>
                <a:solidFill>
                  <a:srgbClr val="99999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49" name="Freeform 265"/>
                <p:cNvSpPr>
                  <a:spLocks/>
                </p:cNvSpPr>
                <p:nvPr/>
              </p:nvSpPr>
              <p:spPr bwMode="gray">
                <a:xfrm>
                  <a:off x="10352087" y="10161588"/>
                  <a:ext cx="1549400" cy="3160713"/>
                </a:xfrm>
                <a:custGeom>
                  <a:avLst/>
                  <a:gdLst/>
                  <a:ahLst/>
                  <a:cxnLst>
                    <a:cxn ang="0">
                      <a:pos x="27" y="514"/>
                    </a:cxn>
                    <a:cxn ang="0">
                      <a:pos x="98" y="381"/>
                    </a:cxn>
                    <a:cxn ang="0">
                      <a:pos x="171" y="249"/>
                    </a:cxn>
                    <a:cxn ang="0">
                      <a:pos x="228" y="117"/>
                    </a:cxn>
                    <a:cxn ang="0">
                      <a:pos x="292" y="94"/>
                    </a:cxn>
                    <a:cxn ang="0">
                      <a:pos x="382" y="106"/>
                    </a:cxn>
                    <a:cxn ang="0">
                      <a:pos x="386" y="108"/>
                    </a:cxn>
                    <a:cxn ang="0">
                      <a:pos x="307" y="0"/>
                    </a:cxn>
                    <a:cxn ang="0">
                      <a:pos x="413" y="127"/>
                    </a:cxn>
                    <a:cxn ang="0">
                      <a:pos x="247" y="131"/>
                    </a:cxn>
                    <a:cxn ang="0">
                      <a:pos x="212" y="200"/>
                    </a:cxn>
                    <a:cxn ang="0">
                      <a:pos x="174" y="272"/>
                    </a:cxn>
                    <a:cxn ang="0">
                      <a:pos x="106" y="419"/>
                    </a:cxn>
                    <a:cxn ang="0">
                      <a:pos x="68" y="483"/>
                    </a:cxn>
                    <a:cxn ang="0">
                      <a:pos x="64" y="571"/>
                    </a:cxn>
                    <a:cxn ang="0">
                      <a:pos x="109" y="784"/>
                    </a:cxn>
                    <a:cxn ang="0">
                      <a:pos x="23" y="518"/>
                    </a:cxn>
                  </a:cxnLst>
                  <a:rect l="0" t="0" r="r" b="b"/>
                  <a:pathLst>
                    <a:path w="413" h="843">
                      <a:moveTo>
                        <a:pt x="27" y="514"/>
                      </a:moveTo>
                      <a:cubicBezTo>
                        <a:pt x="67" y="497"/>
                        <a:pt x="76" y="416"/>
                        <a:pt x="98" y="381"/>
                      </a:cubicBezTo>
                      <a:cubicBezTo>
                        <a:pt x="125" y="337"/>
                        <a:pt x="151" y="296"/>
                        <a:pt x="171" y="249"/>
                      </a:cubicBezTo>
                      <a:cubicBezTo>
                        <a:pt x="189" y="206"/>
                        <a:pt x="203" y="156"/>
                        <a:pt x="228" y="117"/>
                      </a:cubicBezTo>
                      <a:cubicBezTo>
                        <a:pt x="248" y="87"/>
                        <a:pt x="255" y="90"/>
                        <a:pt x="292" y="94"/>
                      </a:cubicBezTo>
                      <a:cubicBezTo>
                        <a:pt x="306" y="95"/>
                        <a:pt x="373" y="112"/>
                        <a:pt x="382" y="106"/>
                      </a:cubicBezTo>
                      <a:cubicBezTo>
                        <a:pt x="383" y="108"/>
                        <a:pt x="384" y="109"/>
                        <a:pt x="386" y="108"/>
                      </a:cubicBezTo>
                      <a:cubicBezTo>
                        <a:pt x="375" y="71"/>
                        <a:pt x="330" y="35"/>
                        <a:pt x="307" y="0"/>
                      </a:cubicBezTo>
                      <a:cubicBezTo>
                        <a:pt x="343" y="40"/>
                        <a:pt x="389" y="79"/>
                        <a:pt x="413" y="127"/>
                      </a:cubicBezTo>
                      <a:cubicBezTo>
                        <a:pt x="374" y="116"/>
                        <a:pt x="272" y="102"/>
                        <a:pt x="247" y="131"/>
                      </a:cubicBezTo>
                      <a:cubicBezTo>
                        <a:pt x="231" y="149"/>
                        <a:pt x="224" y="181"/>
                        <a:pt x="212" y="200"/>
                      </a:cubicBezTo>
                      <a:cubicBezTo>
                        <a:pt x="196" y="224"/>
                        <a:pt x="185" y="246"/>
                        <a:pt x="174" y="272"/>
                      </a:cubicBezTo>
                      <a:cubicBezTo>
                        <a:pt x="154" y="323"/>
                        <a:pt x="132" y="370"/>
                        <a:pt x="106" y="419"/>
                      </a:cubicBezTo>
                      <a:cubicBezTo>
                        <a:pt x="94" y="443"/>
                        <a:pt x="81" y="460"/>
                        <a:pt x="68" y="483"/>
                      </a:cubicBezTo>
                      <a:cubicBezTo>
                        <a:pt x="48" y="516"/>
                        <a:pt x="56" y="533"/>
                        <a:pt x="64" y="571"/>
                      </a:cubicBezTo>
                      <a:cubicBezTo>
                        <a:pt x="79" y="649"/>
                        <a:pt x="74" y="714"/>
                        <a:pt x="109" y="784"/>
                      </a:cubicBezTo>
                      <a:cubicBezTo>
                        <a:pt x="139" y="843"/>
                        <a:pt x="0" y="557"/>
                        <a:pt x="23" y="518"/>
                      </a:cubicBezTo>
                    </a:path>
                  </a:pathLst>
                </a:custGeom>
                <a:solidFill>
                  <a:srgbClr val="99999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50" name="Freeform 266"/>
                <p:cNvSpPr>
                  <a:spLocks/>
                </p:cNvSpPr>
                <p:nvPr/>
              </p:nvSpPr>
              <p:spPr bwMode="gray">
                <a:xfrm>
                  <a:off x="5784850" y="24838026"/>
                  <a:ext cx="1312863" cy="855663"/>
                </a:xfrm>
                <a:custGeom>
                  <a:avLst/>
                  <a:gdLst/>
                  <a:ahLst/>
                  <a:cxnLst>
                    <a:cxn ang="0">
                      <a:pos x="0" y="228"/>
                    </a:cxn>
                    <a:cxn ang="0">
                      <a:pos x="94" y="208"/>
                    </a:cxn>
                    <a:cxn ang="0">
                      <a:pos x="209" y="149"/>
                    </a:cxn>
                    <a:cxn ang="0">
                      <a:pos x="329" y="0"/>
                    </a:cxn>
                    <a:cxn ang="0">
                      <a:pos x="192" y="132"/>
                    </a:cxn>
                    <a:cxn ang="0">
                      <a:pos x="112" y="183"/>
                    </a:cxn>
                    <a:cxn ang="0">
                      <a:pos x="31" y="223"/>
                    </a:cxn>
                  </a:cxnLst>
                  <a:rect l="0" t="0" r="r" b="b"/>
                  <a:pathLst>
                    <a:path w="350" h="228">
                      <a:moveTo>
                        <a:pt x="0" y="228"/>
                      </a:moveTo>
                      <a:cubicBezTo>
                        <a:pt x="28" y="207"/>
                        <a:pt x="61" y="217"/>
                        <a:pt x="94" y="208"/>
                      </a:cubicBezTo>
                      <a:cubicBezTo>
                        <a:pt x="135" y="196"/>
                        <a:pt x="171" y="168"/>
                        <a:pt x="209" y="149"/>
                      </a:cubicBezTo>
                      <a:cubicBezTo>
                        <a:pt x="242" y="131"/>
                        <a:pt x="350" y="34"/>
                        <a:pt x="329" y="0"/>
                      </a:cubicBezTo>
                      <a:cubicBezTo>
                        <a:pt x="290" y="51"/>
                        <a:pt x="248" y="95"/>
                        <a:pt x="192" y="132"/>
                      </a:cubicBezTo>
                      <a:cubicBezTo>
                        <a:pt x="168" y="148"/>
                        <a:pt x="144" y="172"/>
                        <a:pt x="112" y="183"/>
                      </a:cubicBezTo>
                      <a:cubicBezTo>
                        <a:pt x="79" y="193"/>
                        <a:pt x="44" y="183"/>
                        <a:pt x="31" y="223"/>
                      </a:cubicBezTo>
                    </a:path>
                  </a:pathLst>
                </a:custGeom>
                <a:solidFill>
                  <a:srgbClr val="F0F0F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73" name="Group 901"/>
              <p:cNvGrpSpPr/>
              <p:nvPr/>
            </p:nvGrpSpPr>
            <p:grpSpPr>
              <a:xfrm>
                <a:off x="5043060" y="2339202"/>
                <a:ext cx="711380" cy="2025388"/>
                <a:chOff x="6131286" y="1590582"/>
                <a:chExt cx="1477596" cy="4206900"/>
              </a:xfrm>
            </p:grpSpPr>
            <p:sp>
              <p:nvSpPr>
                <p:cNvPr id="162" name="Freeform 391"/>
                <p:cNvSpPr>
                  <a:spLocks/>
                </p:cNvSpPr>
                <p:nvPr/>
              </p:nvSpPr>
              <p:spPr bwMode="gray">
                <a:xfrm>
                  <a:off x="6256522" y="3645109"/>
                  <a:ext cx="303744" cy="379134"/>
                </a:xfrm>
                <a:custGeom>
                  <a:avLst/>
                  <a:gdLst/>
                  <a:ahLst/>
                  <a:cxnLst>
                    <a:cxn ang="0">
                      <a:pos x="344" y="369"/>
                    </a:cxn>
                    <a:cxn ang="0">
                      <a:pos x="287" y="396"/>
                    </a:cxn>
                    <a:cxn ang="0">
                      <a:pos x="75" y="488"/>
                    </a:cxn>
                    <a:cxn ang="0">
                      <a:pos x="90" y="245"/>
                    </a:cxn>
                    <a:cxn ang="0">
                      <a:pos x="129" y="103"/>
                    </a:cxn>
                    <a:cxn ang="0">
                      <a:pos x="271" y="4"/>
                    </a:cxn>
                    <a:cxn ang="0">
                      <a:pos x="408" y="290"/>
                    </a:cxn>
                    <a:cxn ang="0">
                      <a:pos x="299" y="382"/>
                    </a:cxn>
                  </a:cxnLst>
                  <a:rect l="0" t="0" r="r" b="b"/>
                  <a:pathLst>
                    <a:path w="413" h="515">
                      <a:moveTo>
                        <a:pt x="344" y="369"/>
                      </a:moveTo>
                      <a:cubicBezTo>
                        <a:pt x="331" y="386"/>
                        <a:pt x="310" y="396"/>
                        <a:pt x="287" y="396"/>
                      </a:cubicBezTo>
                      <a:cubicBezTo>
                        <a:pt x="261" y="441"/>
                        <a:pt x="122" y="515"/>
                        <a:pt x="75" y="488"/>
                      </a:cubicBezTo>
                      <a:cubicBezTo>
                        <a:pt x="0" y="445"/>
                        <a:pt x="79" y="316"/>
                        <a:pt x="90" y="245"/>
                      </a:cubicBezTo>
                      <a:cubicBezTo>
                        <a:pt x="99" y="184"/>
                        <a:pt x="84" y="149"/>
                        <a:pt x="129" y="103"/>
                      </a:cubicBezTo>
                      <a:cubicBezTo>
                        <a:pt x="158" y="73"/>
                        <a:pt x="230" y="5"/>
                        <a:pt x="271" y="4"/>
                      </a:cubicBezTo>
                      <a:cubicBezTo>
                        <a:pt x="377" y="0"/>
                        <a:pt x="413" y="213"/>
                        <a:pt x="408" y="290"/>
                      </a:cubicBezTo>
                      <a:cubicBezTo>
                        <a:pt x="366" y="312"/>
                        <a:pt x="328" y="343"/>
                        <a:pt x="299" y="382"/>
                      </a:cubicBezTo>
                    </a:path>
                  </a:pathLst>
                </a:custGeom>
                <a:solidFill>
                  <a:srgbClr val="2A343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63" name="Freeform 392"/>
                <p:cNvSpPr>
                  <a:spLocks/>
                </p:cNvSpPr>
                <p:nvPr/>
              </p:nvSpPr>
              <p:spPr bwMode="gray">
                <a:xfrm>
                  <a:off x="7183641" y="3633271"/>
                  <a:ext cx="222122" cy="292840"/>
                </a:xfrm>
                <a:custGeom>
                  <a:avLst/>
                  <a:gdLst/>
                  <a:ahLst/>
                  <a:cxnLst>
                    <a:cxn ang="0">
                      <a:pos x="102" y="33"/>
                    </a:cxn>
                    <a:cxn ang="0">
                      <a:pos x="228" y="207"/>
                    </a:cxn>
                    <a:cxn ang="0">
                      <a:pos x="290" y="302"/>
                    </a:cxn>
                    <a:cxn ang="0">
                      <a:pos x="227" y="367"/>
                    </a:cxn>
                    <a:cxn ang="0">
                      <a:pos x="19" y="272"/>
                    </a:cxn>
                    <a:cxn ang="0">
                      <a:pos x="115" y="0"/>
                    </a:cxn>
                  </a:cxnLst>
                  <a:rect l="0" t="0" r="r" b="b"/>
                  <a:pathLst>
                    <a:path w="302" h="398">
                      <a:moveTo>
                        <a:pt x="102" y="33"/>
                      </a:moveTo>
                      <a:cubicBezTo>
                        <a:pt x="180" y="65"/>
                        <a:pt x="180" y="144"/>
                        <a:pt x="228" y="207"/>
                      </a:cubicBezTo>
                      <a:cubicBezTo>
                        <a:pt x="246" y="232"/>
                        <a:pt x="284" y="268"/>
                        <a:pt x="290" y="302"/>
                      </a:cubicBezTo>
                      <a:cubicBezTo>
                        <a:pt x="302" y="363"/>
                        <a:pt x="275" y="349"/>
                        <a:pt x="227" y="367"/>
                      </a:cubicBezTo>
                      <a:cubicBezTo>
                        <a:pt x="140" y="398"/>
                        <a:pt x="43" y="395"/>
                        <a:pt x="19" y="272"/>
                      </a:cubicBezTo>
                      <a:cubicBezTo>
                        <a:pt x="0" y="178"/>
                        <a:pt x="11" y="32"/>
                        <a:pt x="115" y="0"/>
                      </a:cubicBezTo>
                    </a:path>
                  </a:pathLst>
                </a:custGeom>
                <a:solidFill>
                  <a:srgbClr val="2A343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64" name="Freeform 393"/>
                <p:cNvSpPr>
                  <a:spLocks/>
                </p:cNvSpPr>
                <p:nvPr/>
              </p:nvSpPr>
              <p:spPr bwMode="gray">
                <a:xfrm>
                  <a:off x="6514782" y="5451682"/>
                  <a:ext cx="324305" cy="345800"/>
                </a:xfrm>
                <a:custGeom>
                  <a:avLst/>
                  <a:gdLst/>
                  <a:ahLst/>
                  <a:cxnLst>
                    <a:cxn ang="0">
                      <a:pos x="437" y="8"/>
                    </a:cxn>
                    <a:cxn ang="0">
                      <a:pos x="424" y="171"/>
                    </a:cxn>
                    <a:cxn ang="0">
                      <a:pos x="346" y="276"/>
                    </a:cxn>
                    <a:cxn ang="0">
                      <a:pos x="112" y="445"/>
                    </a:cxn>
                    <a:cxn ang="0">
                      <a:pos x="78" y="222"/>
                    </a:cxn>
                    <a:cxn ang="0">
                      <a:pos x="293" y="2"/>
                    </a:cxn>
                    <a:cxn ang="0">
                      <a:pos x="424" y="41"/>
                    </a:cxn>
                  </a:cxnLst>
                  <a:rect l="0" t="0" r="r" b="b"/>
                  <a:pathLst>
                    <a:path w="441" h="470">
                      <a:moveTo>
                        <a:pt x="437" y="8"/>
                      </a:moveTo>
                      <a:cubicBezTo>
                        <a:pt x="437" y="56"/>
                        <a:pt x="441" y="128"/>
                        <a:pt x="424" y="171"/>
                      </a:cubicBezTo>
                      <a:cubicBezTo>
                        <a:pt x="408" y="210"/>
                        <a:pt x="368" y="231"/>
                        <a:pt x="346" y="276"/>
                      </a:cubicBezTo>
                      <a:cubicBezTo>
                        <a:pt x="304" y="361"/>
                        <a:pt x="234" y="470"/>
                        <a:pt x="112" y="445"/>
                      </a:cubicBezTo>
                      <a:cubicBezTo>
                        <a:pt x="0" y="422"/>
                        <a:pt x="31" y="294"/>
                        <a:pt x="78" y="222"/>
                      </a:cubicBezTo>
                      <a:cubicBezTo>
                        <a:pt x="145" y="120"/>
                        <a:pt x="155" y="6"/>
                        <a:pt x="293" y="2"/>
                      </a:cubicBezTo>
                      <a:cubicBezTo>
                        <a:pt x="355" y="0"/>
                        <a:pt x="374" y="24"/>
                        <a:pt x="424" y="41"/>
                      </a:cubicBezTo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65" name="Freeform 394"/>
                <p:cNvSpPr>
                  <a:spLocks/>
                </p:cNvSpPr>
                <p:nvPr/>
              </p:nvSpPr>
              <p:spPr bwMode="gray">
                <a:xfrm>
                  <a:off x="7044386" y="5413363"/>
                  <a:ext cx="564496" cy="331158"/>
                </a:xfrm>
                <a:custGeom>
                  <a:avLst/>
                  <a:gdLst/>
                  <a:ahLst/>
                  <a:cxnLst>
                    <a:cxn ang="0">
                      <a:pos x="50" y="60"/>
                    </a:cxn>
                    <a:cxn ang="0">
                      <a:pos x="5" y="229"/>
                    </a:cxn>
                    <a:cxn ang="0">
                      <a:pos x="135" y="283"/>
                    </a:cxn>
                    <a:cxn ang="0">
                      <a:pos x="237" y="271"/>
                    </a:cxn>
                    <a:cxn ang="0">
                      <a:pos x="332" y="345"/>
                    </a:cxn>
                    <a:cxn ang="0">
                      <a:pos x="468" y="386"/>
                    </a:cxn>
                    <a:cxn ang="0">
                      <a:pos x="663" y="321"/>
                    </a:cxn>
                    <a:cxn ang="0">
                      <a:pos x="539" y="238"/>
                    </a:cxn>
                    <a:cxn ang="0">
                      <a:pos x="446" y="140"/>
                    </a:cxn>
                    <a:cxn ang="0">
                      <a:pos x="266" y="13"/>
                    </a:cxn>
                    <a:cxn ang="0">
                      <a:pos x="24" y="60"/>
                    </a:cxn>
                  </a:cxnLst>
                  <a:rect l="0" t="0" r="r" b="b"/>
                  <a:pathLst>
                    <a:path w="767" h="450">
                      <a:moveTo>
                        <a:pt x="50" y="60"/>
                      </a:moveTo>
                      <a:cubicBezTo>
                        <a:pt x="13" y="107"/>
                        <a:pt x="0" y="167"/>
                        <a:pt x="5" y="229"/>
                      </a:cubicBezTo>
                      <a:cubicBezTo>
                        <a:pt x="48" y="241"/>
                        <a:pt x="90" y="278"/>
                        <a:pt x="135" y="283"/>
                      </a:cubicBezTo>
                      <a:cubicBezTo>
                        <a:pt x="189" y="291"/>
                        <a:pt x="182" y="242"/>
                        <a:pt x="237" y="271"/>
                      </a:cubicBezTo>
                      <a:cubicBezTo>
                        <a:pt x="271" y="288"/>
                        <a:pt x="300" y="327"/>
                        <a:pt x="332" y="345"/>
                      </a:cubicBezTo>
                      <a:cubicBezTo>
                        <a:pt x="384" y="375"/>
                        <a:pt x="410" y="375"/>
                        <a:pt x="468" y="386"/>
                      </a:cubicBezTo>
                      <a:cubicBezTo>
                        <a:pt x="528" y="397"/>
                        <a:pt x="767" y="450"/>
                        <a:pt x="663" y="321"/>
                      </a:cubicBezTo>
                      <a:cubicBezTo>
                        <a:pt x="633" y="284"/>
                        <a:pt x="577" y="270"/>
                        <a:pt x="539" y="238"/>
                      </a:cubicBezTo>
                      <a:cubicBezTo>
                        <a:pt x="503" y="208"/>
                        <a:pt x="479" y="171"/>
                        <a:pt x="446" y="140"/>
                      </a:cubicBezTo>
                      <a:cubicBezTo>
                        <a:pt x="395" y="91"/>
                        <a:pt x="336" y="27"/>
                        <a:pt x="266" y="13"/>
                      </a:cubicBezTo>
                      <a:cubicBezTo>
                        <a:pt x="205" y="0"/>
                        <a:pt x="67" y="13"/>
                        <a:pt x="24" y="60"/>
                      </a:cubicBezTo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66" name="Freeform 395"/>
                <p:cNvSpPr>
                  <a:spLocks/>
                </p:cNvSpPr>
                <p:nvPr/>
              </p:nvSpPr>
              <p:spPr bwMode="gray">
                <a:xfrm>
                  <a:off x="6384561" y="3357253"/>
                  <a:ext cx="1037401" cy="2195988"/>
                </a:xfrm>
                <a:custGeom>
                  <a:avLst/>
                  <a:gdLst/>
                  <a:ahLst/>
                  <a:cxnLst>
                    <a:cxn ang="0">
                      <a:pos x="196" y="75"/>
                    </a:cxn>
                    <a:cxn ang="0">
                      <a:pos x="73" y="356"/>
                    </a:cxn>
                    <a:cxn ang="0">
                      <a:pos x="32" y="651"/>
                    </a:cxn>
                    <a:cxn ang="0">
                      <a:pos x="79" y="787"/>
                    </a:cxn>
                    <a:cxn ang="0">
                      <a:pos x="86" y="962"/>
                    </a:cxn>
                    <a:cxn ang="0">
                      <a:pos x="87" y="1136"/>
                    </a:cxn>
                    <a:cxn ang="0">
                      <a:pos x="131" y="1295"/>
                    </a:cxn>
                    <a:cxn ang="0">
                      <a:pos x="190" y="1972"/>
                    </a:cxn>
                    <a:cxn ang="0">
                      <a:pos x="223" y="2117"/>
                    </a:cxn>
                    <a:cxn ang="0">
                      <a:pos x="210" y="2319"/>
                    </a:cxn>
                    <a:cxn ang="0">
                      <a:pos x="275" y="2456"/>
                    </a:cxn>
                    <a:cxn ang="0">
                      <a:pos x="307" y="2632"/>
                    </a:cxn>
                    <a:cxn ang="0">
                      <a:pos x="345" y="2921"/>
                    </a:cxn>
                    <a:cxn ang="0">
                      <a:pos x="619" y="2885"/>
                    </a:cxn>
                    <a:cxn ang="0">
                      <a:pos x="629" y="2593"/>
                    </a:cxn>
                    <a:cxn ang="0">
                      <a:pos x="567" y="2451"/>
                    </a:cxn>
                    <a:cxn ang="0">
                      <a:pos x="606" y="2311"/>
                    </a:cxn>
                    <a:cxn ang="0">
                      <a:pos x="594" y="2000"/>
                    </a:cxn>
                    <a:cxn ang="0">
                      <a:pos x="601" y="1654"/>
                    </a:cxn>
                    <a:cxn ang="0">
                      <a:pos x="607" y="1282"/>
                    </a:cxn>
                    <a:cxn ang="0">
                      <a:pos x="607" y="1104"/>
                    </a:cxn>
                    <a:cxn ang="0">
                      <a:pos x="621" y="949"/>
                    </a:cxn>
                    <a:cxn ang="0">
                      <a:pos x="622" y="924"/>
                    </a:cxn>
                    <a:cxn ang="0">
                      <a:pos x="731" y="1106"/>
                    </a:cxn>
                    <a:cxn ang="0">
                      <a:pos x="803" y="1360"/>
                    </a:cxn>
                    <a:cxn ang="0">
                      <a:pos x="909" y="1829"/>
                    </a:cxn>
                    <a:cxn ang="0">
                      <a:pos x="921" y="2047"/>
                    </a:cxn>
                    <a:cxn ang="0">
                      <a:pos x="945" y="2333"/>
                    </a:cxn>
                    <a:cxn ang="0">
                      <a:pos x="909" y="2879"/>
                    </a:cxn>
                    <a:cxn ang="0">
                      <a:pos x="1242" y="2895"/>
                    </a:cxn>
                    <a:cxn ang="0">
                      <a:pos x="1286" y="2771"/>
                    </a:cxn>
                    <a:cxn ang="0">
                      <a:pos x="1307" y="2594"/>
                    </a:cxn>
                    <a:cxn ang="0">
                      <a:pos x="1312" y="2188"/>
                    </a:cxn>
                    <a:cxn ang="0">
                      <a:pos x="1384" y="1791"/>
                    </a:cxn>
                    <a:cxn ang="0">
                      <a:pos x="1346" y="1445"/>
                    </a:cxn>
                    <a:cxn ang="0">
                      <a:pos x="1292" y="1036"/>
                    </a:cxn>
                    <a:cxn ang="0">
                      <a:pos x="1240" y="879"/>
                    </a:cxn>
                    <a:cxn ang="0">
                      <a:pos x="1182" y="736"/>
                    </a:cxn>
                    <a:cxn ang="0">
                      <a:pos x="1182" y="643"/>
                    </a:cxn>
                    <a:cxn ang="0">
                      <a:pos x="1206" y="564"/>
                    </a:cxn>
                    <a:cxn ang="0">
                      <a:pos x="1137" y="447"/>
                    </a:cxn>
                    <a:cxn ang="0">
                      <a:pos x="1053" y="263"/>
                    </a:cxn>
                    <a:cxn ang="0">
                      <a:pos x="959" y="83"/>
                    </a:cxn>
                    <a:cxn ang="0">
                      <a:pos x="492" y="11"/>
                    </a:cxn>
                    <a:cxn ang="0">
                      <a:pos x="190" y="82"/>
                    </a:cxn>
                  </a:cxnLst>
                  <a:rect l="0" t="0" r="r" b="b"/>
                  <a:pathLst>
                    <a:path w="1410" h="2984">
                      <a:moveTo>
                        <a:pt x="196" y="75"/>
                      </a:moveTo>
                      <a:cubicBezTo>
                        <a:pt x="106" y="162"/>
                        <a:pt x="72" y="221"/>
                        <a:pt x="73" y="356"/>
                      </a:cubicBezTo>
                      <a:cubicBezTo>
                        <a:pt x="73" y="455"/>
                        <a:pt x="0" y="550"/>
                        <a:pt x="32" y="651"/>
                      </a:cubicBezTo>
                      <a:cubicBezTo>
                        <a:pt x="47" y="699"/>
                        <a:pt x="72" y="735"/>
                        <a:pt x="79" y="787"/>
                      </a:cubicBezTo>
                      <a:cubicBezTo>
                        <a:pt x="87" y="845"/>
                        <a:pt x="86" y="903"/>
                        <a:pt x="86" y="962"/>
                      </a:cubicBezTo>
                      <a:cubicBezTo>
                        <a:pt x="86" y="1017"/>
                        <a:pt x="76" y="1082"/>
                        <a:pt x="87" y="1136"/>
                      </a:cubicBezTo>
                      <a:cubicBezTo>
                        <a:pt x="99" y="1196"/>
                        <a:pt x="131" y="1230"/>
                        <a:pt x="131" y="1295"/>
                      </a:cubicBezTo>
                      <a:cubicBezTo>
                        <a:pt x="134" y="1518"/>
                        <a:pt x="133" y="1760"/>
                        <a:pt x="190" y="1972"/>
                      </a:cubicBezTo>
                      <a:cubicBezTo>
                        <a:pt x="203" y="2021"/>
                        <a:pt x="226" y="2060"/>
                        <a:pt x="223" y="2117"/>
                      </a:cubicBezTo>
                      <a:cubicBezTo>
                        <a:pt x="219" y="2182"/>
                        <a:pt x="197" y="2251"/>
                        <a:pt x="210" y="2319"/>
                      </a:cubicBezTo>
                      <a:cubicBezTo>
                        <a:pt x="219" y="2371"/>
                        <a:pt x="261" y="2406"/>
                        <a:pt x="275" y="2456"/>
                      </a:cubicBezTo>
                      <a:cubicBezTo>
                        <a:pt x="290" y="2510"/>
                        <a:pt x="302" y="2576"/>
                        <a:pt x="307" y="2632"/>
                      </a:cubicBezTo>
                      <a:cubicBezTo>
                        <a:pt x="317" y="2735"/>
                        <a:pt x="250" y="2849"/>
                        <a:pt x="345" y="2921"/>
                      </a:cubicBezTo>
                      <a:cubicBezTo>
                        <a:pt x="428" y="2984"/>
                        <a:pt x="569" y="2964"/>
                        <a:pt x="619" y="2885"/>
                      </a:cubicBezTo>
                      <a:cubicBezTo>
                        <a:pt x="687" y="2777"/>
                        <a:pt x="670" y="2704"/>
                        <a:pt x="629" y="2593"/>
                      </a:cubicBezTo>
                      <a:cubicBezTo>
                        <a:pt x="611" y="2547"/>
                        <a:pt x="575" y="2500"/>
                        <a:pt x="567" y="2451"/>
                      </a:cubicBezTo>
                      <a:cubicBezTo>
                        <a:pt x="558" y="2394"/>
                        <a:pt x="592" y="2359"/>
                        <a:pt x="606" y="2311"/>
                      </a:cubicBezTo>
                      <a:cubicBezTo>
                        <a:pt x="639" y="2199"/>
                        <a:pt x="604" y="2104"/>
                        <a:pt x="594" y="2000"/>
                      </a:cubicBezTo>
                      <a:cubicBezTo>
                        <a:pt x="584" y="1880"/>
                        <a:pt x="601" y="1772"/>
                        <a:pt x="601" y="1654"/>
                      </a:cubicBezTo>
                      <a:cubicBezTo>
                        <a:pt x="601" y="1528"/>
                        <a:pt x="614" y="1407"/>
                        <a:pt x="607" y="1282"/>
                      </a:cubicBezTo>
                      <a:cubicBezTo>
                        <a:pt x="604" y="1224"/>
                        <a:pt x="605" y="1162"/>
                        <a:pt x="607" y="1104"/>
                      </a:cubicBezTo>
                      <a:cubicBezTo>
                        <a:pt x="609" y="1067"/>
                        <a:pt x="605" y="982"/>
                        <a:pt x="621" y="949"/>
                      </a:cubicBezTo>
                      <a:cubicBezTo>
                        <a:pt x="623" y="944"/>
                        <a:pt x="621" y="930"/>
                        <a:pt x="622" y="924"/>
                      </a:cubicBezTo>
                      <a:cubicBezTo>
                        <a:pt x="684" y="947"/>
                        <a:pt x="714" y="1047"/>
                        <a:pt x="731" y="1106"/>
                      </a:cubicBezTo>
                      <a:cubicBezTo>
                        <a:pt x="756" y="1191"/>
                        <a:pt x="788" y="1274"/>
                        <a:pt x="803" y="1360"/>
                      </a:cubicBezTo>
                      <a:cubicBezTo>
                        <a:pt x="831" y="1521"/>
                        <a:pt x="885" y="1669"/>
                        <a:pt x="909" y="1829"/>
                      </a:cubicBezTo>
                      <a:cubicBezTo>
                        <a:pt x="1006" y="1843"/>
                        <a:pt x="927" y="1994"/>
                        <a:pt x="921" y="2047"/>
                      </a:cubicBezTo>
                      <a:cubicBezTo>
                        <a:pt x="909" y="2146"/>
                        <a:pt x="954" y="2232"/>
                        <a:pt x="945" y="2333"/>
                      </a:cubicBezTo>
                      <a:cubicBezTo>
                        <a:pt x="930" y="2511"/>
                        <a:pt x="901" y="2701"/>
                        <a:pt x="909" y="2879"/>
                      </a:cubicBezTo>
                      <a:cubicBezTo>
                        <a:pt x="1023" y="2891"/>
                        <a:pt x="1133" y="2965"/>
                        <a:pt x="1242" y="2895"/>
                      </a:cubicBezTo>
                      <a:cubicBezTo>
                        <a:pt x="1296" y="2860"/>
                        <a:pt x="1283" y="2844"/>
                        <a:pt x="1286" y="2771"/>
                      </a:cubicBezTo>
                      <a:cubicBezTo>
                        <a:pt x="1288" y="2708"/>
                        <a:pt x="1298" y="2652"/>
                        <a:pt x="1307" y="2594"/>
                      </a:cubicBezTo>
                      <a:cubicBezTo>
                        <a:pt x="1326" y="2462"/>
                        <a:pt x="1305" y="2322"/>
                        <a:pt x="1312" y="2188"/>
                      </a:cubicBezTo>
                      <a:cubicBezTo>
                        <a:pt x="1319" y="2053"/>
                        <a:pt x="1355" y="1920"/>
                        <a:pt x="1384" y="1791"/>
                      </a:cubicBezTo>
                      <a:cubicBezTo>
                        <a:pt x="1410" y="1674"/>
                        <a:pt x="1389" y="1551"/>
                        <a:pt x="1346" y="1445"/>
                      </a:cubicBezTo>
                      <a:cubicBezTo>
                        <a:pt x="1295" y="1315"/>
                        <a:pt x="1311" y="1172"/>
                        <a:pt x="1292" y="1036"/>
                      </a:cubicBezTo>
                      <a:cubicBezTo>
                        <a:pt x="1283" y="969"/>
                        <a:pt x="1278" y="933"/>
                        <a:pt x="1240" y="879"/>
                      </a:cubicBezTo>
                      <a:cubicBezTo>
                        <a:pt x="1207" y="832"/>
                        <a:pt x="1185" y="795"/>
                        <a:pt x="1182" y="736"/>
                      </a:cubicBezTo>
                      <a:cubicBezTo>
                        <a:pt x="1180" y="707"/>
                        <a:pt x="1177" y="671"/>
                        <a:pt x="1182" y="643"/>
                      </a:cubicBezTo>
                      <a:cubicBezTo>
                        <a:pt x="1186" y="615"/>
                        <a:pt x="1205" y="590"/>
                        <a:pt x="1206" y="564"/>
                      </a:cubicBezTo>
                      <a:cubicBezTo>
                        <a:pt x="1208" y="513"/>
                        <a:pt x="1169" y="484"/>
                        <a:pt x="1137" y="447"/>
                      </a:cubicBezTo>
                      <a:cubicBezTo>
                        <a:pt x="1089" y="389"/>
                        <a:pt x="1065" y="337"/>
                        <a:pt x="1053" y="263"/>
                      </a:cubicBezTo>
                      <a:cubicBezTo>
                        <a:pt x="1038" y="178"/>
                        <a:pt x="1003" y="148"/>
                        <a:pt x="959" y="83"/>
                      </a:cubicBezTo>
                      <a:cubicBezTo>
                        <a:pt x="809" y="57"/>
                        <a:pt x="649" y="33"/>
                        <a:pt x="492" y="11"/>
                      </a:cubicBezTo>
                      <a:cubicBezTo>
                        <a:pt x="413" y="0"/>
                        <a:pt x="246" y="15"/>
                        <a:pt x="190" y="82"/>
                      </a:cubicBezTo>
                    </a:path>
                  </a:pathLst>
                </a:custGeom>
                <a:solidFill>
                  <a:srgbClr val="0E80A5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67" name="Freeform 400"/>
                <p:cNvSpPr>
                  <a:spLocks/>
                </p:cNvSpPr>
                <p:nvPr/>
              </p:nvSpPr>
              <p:spPr bwMode="gray">
                <a:xfrm>
                  <a:off x="6438768" y="3439809"/>
                  <a:ext cx="728050" cy="181000"/>
                </a:xfrm>
                <a:custGeom>
                  <a:avLst/>
                  <a:gdLst/>
                  <a:ahLst/>
                  <a:cxnLst>
                    <a:cxn ang="0">
                      <a:pos x="64" y="22"/>
                    </a:cxn>
                    <a:cxn ang="0">
                      <a:pos x="278" y="61"/>
                    </a:cxn>
                    <a:cxn ang="0">
                      <a:pos x="494" y="74"/>
                    </a:cxn>
                    <a:cxn ang="0">
                      <a:pos x="736" y="72"/>
                    </a:cxn>
                    <a:cxn ang="0">
                      <a:pos x="968" y="42"/>
                    </a:cxn>
                    <a:cxn ang="0">
                      <a:pos x="755" y="217"/>
                    </a:cxn>
                    <a:cxn ang="0">
                      <a:pos x="423" y="237"/>
                    </a:cxn>
                    <a:cxn ang="0">
                      <a:pos x="142" y="165"/>
                    </a:cxn>
                    <a:cxn ang="0">
                      <a:pos x="12" y="133"/>
                    </a:cxn>
                    <a:cxn ang="0">
                      <a:pos x="64" y="9"/>
                    </a:cxn>
                  </a:cxnLst>
                  <a:rect l="0" t="0" r="r" b="b"/>
                  <a:pathLst>
                    <a:path w="989" h="246">
                      <a:moveTo>
                        <a:pt x="64" y="22"/>
                      </a:moveTo>
                      <a:cubicBezTo>
                        <a:pt x="117" y="11"/>
                        <a:pt x="219" y="52"/>
                        <a:pt x="278" y="61"/>
                      </a:cubicBezTo>
                      <a:cubicBezTo>
                        <a:pt x="351" y="72"/>
                        <a:pt x="416" y="74"/>
                        <a:pt x="494" y="74"/>
                      </a:cubicBezTo>
                      <a:cubicBezTo>
                        <a:pt x="575" y="74"/>
                        <a:pt x="659" y="84"/>
                        <a:pt x="736" y="72"/>
                      </a:cubicBezTo>
                      <a:cubicBezTo>
                        <a:pt x="817" y="60"/>
                        <a:pt x="883" y="38"/>
                        <a:pt x="968" y="42"/>
                      </a:cubicBezTo>
                      <a:cubicBezTo>
                        <a:pt x="989" y="190"/>
                        <a:pt x="876" y="211"/>
                        <a:pt x="755" y="217"/>
                      </a:cubicBezTo>
                      <a:cubicBezTo>
                        <a:pt x="645" y="223"/>
                        <a:pt x="531" y="246"/>
                        <a:pt x="423" y="237"/>
                      </a:cubicBezTo>
                      <a:cubicBezTo>
                        <a:pt x="328" y="229"/>
                        <a:pt x="238" y="182"/>
                        <a:pt x="142" y="165"/>
                      </a:cubicBezTo>
                      <a:cubicBezTo>
                        <a:pt x="93" y="157"/>
                        <a:pt x="30" y="186"/>
                        <a:pt x="12" y="133"/>
                      </a:cubicBezTo>
                      <a:cubicBezTo>
                        <a:pt x="0" y="99"/>
                        <a:pt x="20" y="0"/>
                        <a:pt x="64" y="9"/>
                      </a:cubicBezTo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68" name="Freeform 401"/>
                <p:cNvSpPr>
                  <a:spLocks/>
                </p:cNvSpPr>
                <p:nvPr/>
              </p:nvSpPr>
              <p:spPr bwMode="gray">
                <a:xfrm>
                  <a:off x="6749365" y="3479685"/>
                  <a:ext cx="204054" cy="165423"/>
                </a:xfrm>
                <a:custGeom>
                  <a:avLst/>
                  <a:gdLst/>
                  <a:ahLst/>
                  <a:cxnLst>
                    <a:cxn ang="0">
                      <a:pos x="14" y="40"/>
                    </a:cxn>
                    <a:cxn ang="0">
                      <a:pos x="110" y="21"/>
                    </a:cxn>
                    <a:cxn ang="0">
                      <a:pos x="204" y="165"/>
                    </a:cxn>
                    <a:cxn ang="0">
                      <a:pos x="2" y="201"/>
                    </a:cxn>
                    <a:cxn ang="0">
                      <a:pos x="2" y="171"/>
                    </a:cxn>
                    <a:cxn ang="0">
                      <a:pos x="184" y="138"/>
                    </a:cxn>
                    <a:cxn ang="0">
                      <a:pos x="14" y="53"/>
                    </a:cxn>
                  </a:cxnLst>
                  <a:rect l="0" t="0" r="r" b="b"/>
                  <a:pathLst>
                    <a:path w="277" h="225">
                      <a:moveTo>
                        <a:pt x="14" y="40"/>
                      </a:moveTo>
                      <a:cubicBezTo>
                        <a:pt x="25" y="0"/>
                        <a:pt x="77" y="13"/>
                        <a:pt x="110" y="21"/>
                      </a:cubicBezTo>
                      <a:cubicBezTo>
                        <a:pt x="146" y="65"/>
                        <a:pt x="277" y="65"/>
                        <a:pt x="204" y="165"/>
                      </a:cubicBezTo>
                      <a:cubicBezTo>
                        <a:pt x="165" y="220"/>
                        <a:pt x="59" y="225"/>
                        <a:pt x="2" y="201"/>
                      </a:cubicBezTo>
                      <a:cubicBezTo>
                        <a:pt x="0" y="192"/>
                        <a:pt x="0" y="181"/>
                        <a:pt x="2" y="171"/>
                      </a:cubicBezTo>
                      <a:cubicBezTo>
                        <a:pt x="46" y="169"/>
                        <a:pt x="173" y="202"/>
                        <a:pt x="184" y="138"/>
                      </a:cubicBezTo>
                      <a:cubicBezTo>
                        <a:pt x="196" y="62"/>
                        <a:pt x="58" y="65"/>
                        <a:pt x="14" y="53"/>
                      </a:cubicBezTo>
                    </a:path>
                  </a:pathLst>
                </a:custGeom>
                <a:solidFill>
                  <a:srgbClr val="F0F0F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69" name="Freeform 402"/>
                <p:cNvSpPr>
                  <a:spLocks/>
                </p:cNvSpPr>
                <p:nvPr/>
              </p:nvSpPr>
              <p:spPr bwMode="gray">
                <a:xfrm>
                  <a:off x="6413845" y="2264711"/>
                  <a:ext cx="800637" cy="1236158"/>
                </a:xfrm>
                <a:custGeom>
                  <a:avLst/>
                  <a:gdLst/>
                  <a:ahLst/>
                  <a:cxnLst>
                    <a:cxn ang="0">
                      <a:pos x="326" y="79"/>
                    </a:cxn>
                    <a:cxn ang="0">
                      <a:pos x="223" y="165"/>
                    </a:cxn>
                    <a:cxn ang="0">
                      <a:pos x="176" y="376"/>
                    </a:cxn>
                    <a:cxn ang="0">
                      <a:pos x="125" y="636"/>
                    </a:cxn>
                    <a:cxn ang="0">
                      <a:pos x="85" y="954"/>
                    </a:cxn>
                    <a:cxn ang="0">
                      <a:pos x="32" y="1171"/>
                    </a:cxn>
                    <a:cxn ang="0">
                      <a:pos x="21" y="1390"/>
                    </a:cxn>
                    <a:cxn ang="0">
                      <a:pos x="67" y="1561"/>
                    </a:cxn>
                    <a:cxn ang="0">
                      <a:pos x="209" y="1652"/>
                    </a:cxn>
                    <a:cxn ang="0">
                      <a:pos x="392" y="1658"/>
                    </a:cxn>
                    <a:cxn ang="0">
                      <a:pos x="561" y="1671"/>
                    </a:cxn>
                    <a:cxn ang="0">
                      <a:pos x="900" y="1658"/>
                    </a:cxn>
                    <a:cxn ang="0">
                      <a:pos x="1045" y="1612"/>
                    </a:cxn>
                    <a:cxn ang="0">
                      <a:pos x="1070" y="1374"/>
                    </a:cxn>
                    <a:cxn ang="0">
                      <a:pos x="1076" y="805"/>
                    </a:cxn>
                    <a:cxn ang="0">
                      <a:pos x="835" y="125"/>
                    </a:cxn>
                    <a:cxn ang="0">
                      <a:pos x="723" y="47"/>
                    </a:cxn>
                    <a:cxn ang="0">
                      <a:pos x="599" y="52"/>
                    </a:cxn>
                    <a:cxn ang="0">
                      <a:pos x="300" y="79"/>
                    </a:cxn>
                  </a:cxnLst>
                  <a:rect l="0" t="0" r="r" b="b"/>
                  <a:pathLst>
                    <a:path w="1088" h="1680">
                      <a:moveTo>
                        <a:pt x="326" y="79"/>
                      </a:moveTo>
                      <a:cubicBezTo>
                        <a:pt x="297" y="119"/>
                        <a:pt x="251" y="133"/>
                        <a:pt x="223" y="165"/>
                      </a:cubicBezTo>
                      <a:cubicBezTo>
                        <a:pt x="172" y="225"/>
                        <a:pt x="180" y="301"/>
                        <a:pt x="176" y="376"/>
                      </a:cubicBezTo>
                      <a:cubicBezTo>
                        <a:pt x="172" y="466"/>
                        <a:pt x="137" y="547"/>
                        <a:pt x="125" y="636"/>
                      </a:cubicBezTo>
                      <a:cubicBezTo>
                        <a:pt x="111" y="743"/>
                        <a:pt x="107" y="850"/>
                        <a:pt x="85" y="954"/>
                      </a:cubicBezTo>
                      <a:cubicBezTo>
                        <a:pt x="69" y="1026"/>
                        <a:pt x="40" y="1095"/>
                        <a:pt x="32" y="1171"/>
                      </a:cubicBezTo>
                      <a:cubicBezTo>
                        <a:pt x="25" y="1244"/>
                        <a:pt x="31" y="1322"/>
                        <a:pt x="21" y="1390"/>
                      </a:cubicBezTo>
                      <a:cubicBezTo>
                        <a:pt x="9" y="1472"/>
                        <a:pt x="0" y="1515"/>
                        <a:pt x="67" y="1561"/>
                      </a:cubicBezTo>
                      <a:cubicBezTo>
                        <a:pt x="111" y="1592"/>
                        <a:pt x="154" y="1641"/>
                        <a:pt x="209" y="1652"/>
                      </a:cubicBezTo>
                      <a:cubicBezTo>
                        <a:pt x="266" y="1663"/>
                        <a:pt x="334" y="1652"/>
                        <a:pt x="392" y="1658"/>
                      </a:cubicBezTo>
                      <a:cubicBezTo>
                        <a:pt x="446" y="1663"/>
                        <a:pt x="503" y="1671"/>
                        <a:pt x="561" y="1671"/>
                      </a:cubicBezTo>
                      <a:cubicBezTo>
                        <a:pt x="674" y="1671"/>
                        <a:pt x="793" y="1680"/>
                        <a:pt x="900" y="1658"/>
                      </a:cubicBezTo>
                      <a:cubicBezTo>
                        <a:pt x="942" y="1650"/>
                        <a:pt x="1014" y="1649"/>
                        <a:pt x="1045" y="1612"/>
                      </a:cubicBezTo>
                      <a:cubicBezTo>
                        <a:pt x="1088" y="1561"/>
                        <a:pt x="1070" y="1445"/>
                        <a:pt x="1070" y="1374"/>
                      </a:cubicBezTo>
                      <a:cubicBezTo>
                        <a:pt x="1070" y="1184"/>
                        <a:pt x="1077" y="994"/>
                        <a:pt x="1076" y="805"/>
                      </a:cubicBezTo>
                      <a:cubicBezTo>
                        <a:pt x="1076" y="561"/>
                        <a:pt x="1059" y="262"/>
                        <a:pt x="835" y="125"/>
                      </a:cubicBezTo>
                      <a:cubicBezTo>
                        <a:pt x="796" y="101"/>
                        <a:pt x="760" y="73"/>
                        <a:pt x="723" y="47"/>
                      </a:cubicBezTo>
                      <a:cubicBezTo>
                        <a:pt x="656" y="0"/>
                        <a:pt x="653" y="1"/>
                        <a:pt x="599" y="52"/>
                      </a:cubicBezTo>
                      <a:cubicBezTo>
                        <a:pt x="500" y="143"/>
                        <a:pt x="422" y="79"/>
                        <a:pt x="300" y="79"/>
                      </a:cubicBezTo>
                    </a:path>
                  </a:pathLst>
                </a:custGeom>
                <a:solidFill>
                  <a:srgbClr val="F0F0F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0" name="Freeform 409"/>
                <p:cNvSpPr>
                  <a:spLocks/>
                </p:cNvSpPr>
                <p:nvPr/>
              </p:nvSpPr>
              <p:spPr bwMode="gray">
                <a:xfrm>
                  <a:off x="6615407" y="2137294"/>
                  <a:ext cx="328355" cy="403122"/>
                </a:xfrm>
                <a:custGeom>
                  <a:avLst/>
                  <a:gdLst/>
                  <a:ahLst/>
                  <a:cxnLst>
                    <a:cxn ang="0">
                      <a:pos x="26" y="83"/>
                    </a:cxn>
                    <a:cxn ang="0">
                      <a:pos x="386" y="365"/>
                    </a:cxn>
                    <a:cxn ang="0">
                      <a:pos x="370" y="110"/>
                    </a:cxn>
                    <a:cxn ang="0">
                      <a:pos x="46" y="102"/>
                    </a:cxn>
                  </a:cxnLst>
                  <a:rect l="0" t="0" r="r" b="b"/>
                  <a:pathLst>
                    <a:path w="446" h="548">
                      <a:moveTo>
                        <a:pt x="26" y="83"/>
                      </a:moveTo>
                      <a:cubicBezTo>
                        <a:pt x="0" y="271"/>
                        <a:pt x="191" y="548"/>
                        <a:pt x="386" y="365"/>
                      </a:cubicBezTo>
                      <a:cubicBezTo>
                        <a:pt x="446" y="309"/>
                        <a:pt x="413" y="170"/>
                        <a:pt x="370" y="110"/>
                      </a:cubicBezTo>
                      <a:cubicBezTo>
                        <a:pt x="290" y="0"/>
                        <a:pt x="139" y="48"/>
                        <a:pt x="46" y="102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1" name="Freeform 410"/>
                <p:cNvSpPr>
                  <a:spLocks/>
                </p:cNvSpPr>
                <p:nvPr/>
              </p:nvSpPr>
              <p:spPr bwMode="gray">
                <a:xfrm>
                  <a:off x="6625064" y="2176236"/>
                  <a:ext cx="290659" cy="196577"/>
                </a:xfrm>
                <a:custGeom>
                  <a:avLst/>
                  <a:gdLst/>
                  <a:ahLst/>
                  <a:cxnLst>
                    <a:cxn ang="0">
                      <a:pos x="0" y="57"/>
                    </a:cxn>
                    <a:cxn ang="0">
                      <a:pos x="114" y="220"/>
                    </a:cxn>
                    <a:cxn ang="0">
                      <a:pos x="327" y="207"/>
                    </a:cxn>
                    <a:cxn ang="0">
                      <a:pos x="390" y="0"/>
                    </a:cxn>
                  </a:cxnLst>
                  <a:rect l="0" t="0" r="r" b="b"/>
                  <a:pathLst>
                    <a:path w="395" h="267">
                      <a:moveTo>
                        <a:pt x="0" y="57"/>
                      </a:moveTo>
                      <a:cubicBezTo>
                        <a:pt x="21" y="138"/>
                        <a:pt x="43" y="178"/>
                        <a:pt x="114" y="220"/>
                      </a:cubicBezTo>
                      <a:cubicBezTo>
                        <a:pt x="179" y="260"/>
                        <a:pt x="261" y="267"/>
                        <a:pt x="327" y="207"/>
                      </a:cubicBezTo>
                      <a:cubicBezTo>
                        <a:pt x="395" y="147"/>
                        <a:pt x="385" y="88"/>
                        <a:pt x="390" y="0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2" name="Freeform 411"/>
                <p:cNvSpPr>
                  <a:spLocks/>
                </p:cNvSpPr>
                <p:nvPr/>
              </p:nvSpPr>
              <p:spPr bwMode="gray">
                <a:xfrm>
                  <a:off x="6502944" y="1724515"/>
                  <a:ext cx="478202" cy="593780"/>
                </a:xfrm>
                <a:custGeom>
                  <a:avLst/>
                  <a:gdLst/>
                  <a:ahLst/>
                  <a:cxnLst>
                    <a:cxn ang="0">
                      <a:pos x="120" y="363"/>
                    </a:cxn>
                    <a:cxn ang="0">
                      <a:pos x="140" y="611"/>
                    </a:cxn>
                    <a:cxn ang="0">
                      <a:pos x="284" y="761"/>
                    </a:cxn>
                    <a:cxn ang="0">
                      <a:pos x="497" y="748"/>
                    </a:cxn>
                    <a:cxn ang="0">
                      <a:pos x="578" y="540"/>
                    </a:cxn>
                    <a:cxn ang="0">
                      <a:pos x="608" y="538"/>
                    </a:cxn>
                    <a:cxn ang="0">
                      <a:pos x="642" y="415"/>
                    </a:cxn>
                    <a:cxn ang="0">
                      <a:pos x="597" y="296"/>
                    </a:cxn>
                    <a:cxn ang="0">
                      <a:pos x="476" y="77"/>
                    </a:cxn>
                    <a:cxn ang="0">
                      <a:pos x="87" y="342"/>
                    </a:cxn>
                    <a:cxn ang="0">
                      <a:pos x="82" y="532"/>
                    </a:cxn>
                    <a:cxn ang="0">
                      <a:pos x="127" y="585"/>
                    </a:cxn>
                  </a:cxnLst>
                  <a:rect l="0" t="0" r="r" b="b"/>
                  <a:pathLst>
                    <a:path w="650" h="807">
                      <a:moveTo>
                        <a:pt x="120" y="363"/>
                      </a:moveTo>
                      <a:cubicBezTo>
                        <a:pt x="120" y="450"/>
                        <a:pt x="119" y="530"/>
                        <a:pt x="140" y="611"/>
                      </a:cubicBezTo>
                      <a:cubicBezTo>
                        <a:pt x="161" y="693"/>
                        <a:pt x="213" y="719"/>
                        <a:pt x="284" y="761"/>
                      </a:cubicBezTo>
                      <a:cubicBezTo>
                        <a:pt x="349" y="801"/>
                        <a:pt x="431" y="807"/>
                        <a:pt x="497" y="748"/>
                      </a:cubicBezTo>
                      <a:cubicBezTo>
                        <a:pt x="565" y="687"/>
                        <a:pt x="573" y="628"/>
                        <a:pt x="578" y="540"/>
                      </a:cubicBezTo>
                      <a:cubicBezTo>
                        <a:pt x="587" y="541"/>
                        <a:pt x="600" y="537"/>
                        <a:pt x="608" y="538"/>
                      </a:cubicBezTo>
                      <a:cubicBezTo>
                        <a:pt x="630" y="496"/>
                        <a:pt x="650" y="470"/>
                        <a:pt x="642" y="415"/>
                      </a:cubicBezTo>
                      <a:cubicBezTo>
                        <a:pt x="635" y="362"/>
                        <a:pt x="605" y="352"/>
                        <a:pt x="597" y="296"/>
                      </a:cubicBezTo>
                      <a:cubicBezTo>
                        <a:pt x="583" y="205"/>
                        <a:pt x="567" y="114"/>
                        <a:pt x="476" y="77"/>
                      </a:cubicBezTo>
                      <a:cubicBezTo>
                        <a:pt x="285" y="0"/>
                        <a:pt x="74" y="133"/>
                        <a:pt x="87" y="342"/>
                      </a:cubicBezTo>
                      <a:cubicBezTo>
                        <a:pt x="0" y="360"/>
                        <a:pt x="58" y="488"/>
                        <a:pt x="82" y="532"/>
                      </a:cubicBezTo>
                      <a:cubicBezTo>
                        <a:pt x="111" y="534"/>
                        <a:pt x="124" y="559"/>
                        <a:pt x="127" y="585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3" name="Freeform 412"/>
                <p:cNvSpPr>
                  <a:spLocks/>
                </p:cNvSpPr>
                <p:nvPr/>
              </p:nvSpPr>
              <p:spPr bwMode="gray">
                <a:xfrm>
                  <a:off x="6297644" y="3567849"/>
                  <a:ext cx="224303" cy="290036"/>
                </a:xfrm>
                <a:custGeom>
                  <a:avLst/>
                  <a:gdLst/>
                  <a:ahLst/>
                  <a:cxnLst>
                    <a:cxn ang="0">
                      <a:pos x="54" y="180"/>
                    </a:cxn>
                    <a:cxn ang="0">
                      <a:pos x="124" y="312"/>
                    </a:cxn>
                    <a:cxn ang="0">
                      <a:pos x="248" y="388"/>
                    </a:cxn>
                    <a:cxn ang="0">
                      <a:pos x="295" y="278"/>
                    </a:cxn>
                    <a:cxn ang="0">
                      <a:pos x="225" y="166"/>
                    </a:cxn>
                    <a:cxn ang="0">
                      <a:pos x="27" y="161"/>
                    </a:cxn>
                  </a:cxnLst>
                  <a:rect l="0" t="0" r="r" b="b"/>
                  <a:pathLst>
                    <a:path w="305" h="394">
                      <a:moveTo>
                        <a:pt x="54" y="180"/>
                      </a:moveTo>
                      <a:cubicBezTo>
                        <a:pt x="51" y="221"/>
                        <a:pt x="101" y="280"/>
                        <a:pt x="124" y="312"/>
                      </a:cubicBezTo>
                      <a:cubicBezTo>
                        <a:pt x="155" y="357"/>
                        <a:pt x="188" y="394"/>
                        <a:pt x="248" y="388"/>
                      </a:cubicBezTo>
                      <a:cubicBezTo>
                        <a:pt x="261" y="346"/>
                        <a:pt x="289" y="322"/>
                        <a:pt x="295" y="278"/>
                      </a:cubicBezTo>
                      <a:cubicBezTo>
                        <a:pt x="305" y="206"/>
                        <a:pt x="278" y="202"/>
                        <a:pt x="225" y="166"/>
                      </a:cubicBezTo>
                      <a:cubicBezTo>
                        <a:pt x="188" y="140"/>
                        <a:pt x="0" y="0"/>
                        <a:pt x="27" y="161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4" name="Freeform 413"/>
                <p:cNvSpPr>
                  <a:spLocks/>
                </p:cNvSpPr>
                <p:nvPr/>
              </p:nvSpPr>
              <p:spPr bwMode="gray">
                <a:xfrm>
                  <a:off x="7153422" y="3553207"/>
                  <a:ext cx="180377" cy="270098"/>
                </a:xfrm>
                <a:custGeom>
                  <a:avLst/>
                  <a:gdLst/>
                  <a:ahLst/>
                  <a:cxnLst>
                    <a:cxn ang="0">
                      <a:pos x="215" y="161"/>
                    </a:cxn>
                    <a:cxn ang="0">
                      <a:pos x="170" y="247"/>
                    </a:cxn>
                    <a:cxn ang="0">
                      <a:pos x="71" y="357"/>
                    </a:cxn>
                    <a:cxn ang="0">
                      <a:pos x="6" y="227"/>
                    </a:cxn>
                    <a:cxn ang="0">
                      <a:pos x="221" y="148"/>
                    </a:cxn>
                  </a:cxnLst>
                  <a:rect l="0" t="0" r="r" b="b"/>
                  <a:pathLst>
                    <a:path w="245" h="367">
                      <a:moveTo>
                        <a:pt x="215" y="161"/>
                      </a:moveTo>
                      <a:cubicBezTo>
                        <a:pt x="237" y="200"/>
                        <a:pt x="202" y="231"/>
                        <a:pt x="170" y="247"/>
                      </a:cubicBezTo>
                      <a:cubicBezTo>
                        <a:pt x="170" y="302"/>
                        <a:pt x="133" y="367"/>
                        <a:pt x="71" y="357"/>
                      </a:cubicBezTo>
                      <a:cubicBezTo>
                        <a:pt x="22" y="349"/>
                        <a:pt x="0" y="278"/>
                        <a:pt x="6" y="227"/>
                      </a:cubicBezTo>
                      <a:cubicBezTo>
                        <a:pt x="17" y="135"/>
                        <a:pt x="245" y="0"/>
                        <a:pt x="221" y="148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5" name="Freeform 414"/>
                <p:cNvSpPr>
                  <a:spLocks/>
                </p:cNvSpPr>
                <p:nvPr/>
              </p:nvSpPr>
              <p:spPr bwMode="gray">
                <a:xfrm>
                  <a:off x="6348424" y="3672212"/>
                  <a:ext cx="136140" cy="190034"/>
                </a:xfrm>
                <a:custGeom>
                  <a:avLst/>
                  <a:gdLst/>
                  <a:ahLst/>
                  <a:cxnLst>
                    <a:cxn ang="0">
                      <a:pos x="110" y="4"/>
                    </a:cxn>
                    <a:cxn ang="0">
                      <a:pos x="74" y="71"/>
                    </a:cxn>
                    <a:cxn ang="0">
                      <a:pos x="74" y="134"/>
                    </a:cxn>
                    <a:cxn ang="0">
                      <a:pos x="178" y="229"/>
                    </a:cxn>
                    <a:cxn ang="0">
                      <a:pos x="126" y="249"/>
                    </a:cxn>
                    <a:cxn ang="0">
                      <a:pos x="73" y="210"/>
                    </a:cxn>
                    <a:cxn ang="0">
                      <a:pos x="10" y="90"/>
                    </a:cxn>
                    <a:cxn ang="0">
                      <a:pos x="107" y="0"/>
                    </a:cxn>
                  </a:cxnLst>
                  <a:rect l="0" t="0" r="r" b="b"/>
                  <a:pathLst>
                    <a:path w="185" h="258">
                      <a:moveTo>
                        <a:pt x="110" y="4"/>
                      </a:moveTo>
                      <a:cubicBezTo>
                        <a:pt x="132" y="37"/>
                        <a:pt x="94" y="53"/>
                        <a:pt x="74" y="71"/>
                      </a:cubicBezTo>
                      <a:cubicBezTo>
                        <a:pt x="44" y="99"/>
                        <a:pt x="53" y="104"/>
                        <a:pt x="74" y="134"/>
                      </a:cubicBezTo>
                      <a:cubicBezTo>
                        <a:pt x="106" y="179"/>
                        <a:pt x="109" y="228"/>
                        <a:pt x="178" y="229"/>
                      </a:cubicBezTo>
                      <a:cubicBezTo>
                        <a:pt x="185" y="258"/>
                        <a:pt x="143" y="255"/>
                        <a:pt x="126" y="249"/>
                      </a:cubicBezTo>
                      <a:cubicBezTo>
                        <a:pt x="110" y="244"/>
                        <a:pt x="85" y="223"/>
                        <a:pt x="73" y="210"/>
                      </a:cubicBezTo>
                      <a:cubicBezTo>
                        <a:pt x="46" y="182"/>
                        <a:pt x="0" y="133"/>
                        <a:pt x="10" y="90"/>
                      </a:cubicBezTo>
                      <a:cubicBezTo>
                        <a:pt x="20" y="49"/>
                        <a:pt x="76" y="24"/>
                        <a:pt x="107" y="0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6" name="Freeform 419"/>
                <p:cNvSpPr>
                  <a:spLocks/>
                </p:cNvSpPr>
                <p:nvPr/>
              </p:nvSpPr>
              <p:spPr bwMode="gray">
                <a:xfrm>
                  <a:off x="6762761" y="2319852"/>
                  <a:ext cx="239880" cy="247045"/>
                </a:xfrm>
                <a:custGeom>
                  <a:avLst/>
                  <a:gdLst/>
                  <a:ahLst/>
                  <a:cxnLst>
                    <a:cxn ang="0">
                      <a:pos x="177" y="266"/>
                    </a:cxn>
                    <a:cxn ang="0">
                      <a:pos x="267" y="187"/>
                    </a:cxn>
                    <a:cxn ang="0">
                      <a:pos x="282" y="34"/>
                    </a:cxn>
                    <a:cxn ang="0">
                      <a:pos x="180" y="188"/>
                    </a:cxn>
                    <a:cxn ang="0">
                      <a:pos x="170" y="275"/>
                    </a:cxn>
                    <a:cxn ang="0">
                      <a:pos x="134" y="282"/>
                    </a:cxn>
                    <a:cxn ang="0">
                      <a:pos x="115" y="282"/>
                    </a:cxn>
                    <a:cxn ang="0">
                      <a:pos x="104" y="298"/>
                    </a:cxn>
                    <a:cxn ang="0">
                      <a:pos x="24" y="260"/>
                    </a:cxn>
                    <a:cxn ang="0">
                      <a:pos x="144" y="155"/>
                    </a:cxn>
                  </a:cxnLst>
                  <a:rect l="0" t="0" r="r" b="b"/>
                  <a:pathLst>
                    <a:path w="326" h="336">
                      <a:moveTo>
                        <a:pt x="177" y="266"/>
                      </a:moveTo>
                      <a:cubicBezTo>
                        <a:pt x="186" y="318"/>
                        <a:pt x="258" y="202"/>
                        <a:pt x="267" y="187"/>
                      </a:cubicBezTo>
                      <a:cubicBezTo>
                        <a:pt x="287" y="153"/>
                        <a:pt x="326" y="57"/>
                        <a:pt x="282" y="34"/>
                      </a:cubicBezTo>
                      <a:cubicBezTo>
                        <a:pt x="213" y="0"/>
                        <a:pt x="180" y="141"/>
                        <a:pt x="180" y="188"/>
                      </a:cubicBezTo>
                      <a:cubicBezTo>
                        <a:pt x="180" y="212"/>
                        <a:pt x="189" y="258"/>
                        <a:pt x="170" y="275"/>
                      </a:cubicBezTo>
                      <a:cubicBezTo>
                        <a:pt x="163" y="281"/>
                        <a:pt x="143" y="280"/>
                        <a:pt x="134" y="282"/>
                      </a:cubicBezTo>
                      <a:cubicBezTo>
                        <a:pt x="129" y="284"/>
                        <a:pt x="120" y="280"/>
                        <a:pt x="115" y="282"/>
                      </a:cubicBezTo>
                      <a:cubicBezTo>
                        <a:pt x="107" y="286"/>
                        <a:pt x="110" y="295"/>
                        <a:pt x="104" y="298"/>
                      </a:cubicBezTo>
                      <a:cubicBezTo>
                        <a:pt x="60" y="325"/>
                        <a:pt x="0" y="336"/>
                        <a:pt x="24" y="260"/>
                      </a:cubicBezTo>
                      <a:cubicBezTo>
                        <a:pt x="42" y="204"/>
                        <a:pt x="111" y="200"/>
                        <a:pt x="144" y="155"/>
                      </a:cubicBezTo>
                    </a:path>
                  </a:pathLst>
                </a:custGeom>
                <a:solidFill>
                  <a:srgbClr val="C0C0C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7" name="Freeform 420"/>
                <p:cNvSpPr>
                  <a:spLocks/>
                </p:cNvSpPr>
                <p:nvPr/>
              </p:nvSpPr>
              <p:spPr bwMode="gray">
                <a:xfrm>
                  <a:off x="6588303" y="2355990"/>
                  <a:ext cx="182558" cy="211842"/>
                </a:xfrm>
                <a:custGeom>
                  <a:avLst/>
                  <a:gdLst/>
                  <a:ahLst/>
                  <a:cxnLst>
                    <a:cxn ang="0">
                      <a:pos x="0" y="38"/>
                    </a:cxn>
                    <a:cxn ang="0">
                      <a:pos x="23" y="96"/>
                    </a:cxn>
                    <a:cxn ang="0">
                      <a:pos x="54" y="156"/>
                    </a:cxn>
                    <a:cxn ang="0">
                      <a:pos x="91" y="288"/>
                    </a:cxn>
                    <a:cxn ang="0">
                      <a:pos x="107" y="237"/>
                    </a:cxn>
                    <a:cxn ang="0">
                      <a:pos x="157" y="244"/>
                    </a:cxn>
                    <a:cxn ang="0">
                      <a:pos x="189" y="230"/>
                    </a:cxn>
                    <a:cxn ang="0">
                      <a:pos x="212" y="247"/>
                    </a:cxn>
                    <a:cxn ang="0">
                      <a:pos x="232" y="216"/>
                    </a:cxn>
                    <a:cxn ang="0">
                      <a:pos x="173" y="180"/>
                    </a:cxn>
                    <a:cxn ang="0">
                      <a:pos x="114" y="110"/>
                    </a:cxn>
                    <a:cxn ang="0">
                      <a:pos x="75" y="35"/>
                    </a:cxn>
                    <a:cxn ang="0">
                      <a:pos x="0" y="41"/>
                    </a:cxn>
                  </a:cxnLst>
                  <a:rect l="0" t="0" r="r" b="b"/>
                  <a:pathLst>
                    <a:path w="248" h="288">
                      <a:moveTo>
                        <a:pt x="0" y="38"/>
                      </a:moveTo>
                      <a:cubicBezTo>
                        <a:pt x="14" y="53"/>
                        <a:pt x="14" y="78"/>
                        <a:pt x="23" y="96"/>
                      </a:cubicBezTo>
                      <a:cubicBezTo>
                        <a:pt x="34" y="117"/>
                        <a:pt x="46" y="134"/>
                        <a:pt x="54" y="156"/>
                      </a:cubicBezTo>
                      <a:cubicBezTo>
                        <a:pt x="72" y="201"/>
                        <a:pt x="78" y="242"/>
                        <a:pt x="91" y="288"/>
                      </a:cubicBezTo>
                      <a:cubicBezTo>
                        <a:pt x="91" y="266"/>
                        <a:pt x="86" y="247"/>
                        <a:pt x="107" y="237"/>
                      </a:cubicBezTo>
                      <a:cubicBezTo>
                        <a:pt x="127" y="227"/>
                        <a:pt x="141" y="245"/>
                        <a:pt x="157" y="244"/>
                      </a:cubicBezTo>
                      <a:cubicBezTo>
                        <a:pt x="169" y="243"/>
                        <a:pt x="174" y="229"/>
                        <a:pt x="189" y="230"/>
                      </a:cubicBezTo>
                      <a:cubicBezTo>
                        <a:pt x="202" y="231"/>
                        <a:pt x="207" y="245"/>
                        <a:pt x="212" y="247"/>
                      </a:cubicBezTo>
                      <a:cubicBezTo>
                        <a:pt x="235" y="252"/>
                        <a:pt x="248" y="241"/>
                        <a:pt x="232" y="216"/>
                      </a:cubicBezTo>
                      <a:cubicBezTo>
                        <a:pt x="222" y="201"/>
                        <a:pt x="189" y="191"/>
                        <a:pt x="173" y="180"/>
                      </a:cubicBezTo>
                      <a:cubicBezTo>
                        <a:pt x="146" y="162"/>
                        <a:pt x="130" y="138"/>
                        <a:pt x="114" y="110"/>
                      </a:cubicBezTo>
                      <a:cubicBezTo>
                        <a:pt x="101" y="85"/>
                        <a:pt x="93" y="57"/>
                        <a:pt x="75" y="35"/>
                      </a:cubicBezTo>
                      <a:cubicBezTo>
                        <a:pt x="46" y="0"/>
                        <a:pt x="34" y="24"/>
                        <a:pt x="0" y="41"/>
                      </a:cubicBezTo>
                    </a:path>
                  </a:pathLst>
                </a:custGeom>
                <a:solidFill>
                  <a:srgbClr val="C0C0C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8" name="Freeform 422"/>
                <p:cNvSpPr>
                  <a:spLocks/>
                </p:cNvSpPr>
                <p:nvPr/>
              </p:nvSpPr>
              <p:spPr bwMode="gray">
                <a:xfrm>
                  <a:off x="6131286" y="2316737"/>
                  <a:ext cx="522439" cy="1497534"/>
                </a:xfrm>
                <a:custGeom>
                  <a:avLst/>
                  <a:gdLst/>
                  <a:ahLst/>
                  <a:cxnLst>
                    <a:cxn ang="0">
                      <a:pos x="710" y="8"/>
                    </a:cxn>
                    <a:cxn ang="0">
                      <a:pos x="461" y="124"/>
                    </a:cxn>
                    <a:cxn ang="0">
                      <a:pos x="220" y="242"/>
                    </a:cxn>
                    <a:cxn ang="0">
                      <a:pos x="97" y="511"/>
                    </a:cxn>
                    <a:cxn ang="0">
                      <a:pos x="45" y="889"/>
                    </a:cxn>
                    <a:cxn ang="0">
                      <a:pos x="19" y="1215"/>
                    </a:cxn>
                    <a:cxn ang="0">
                      <a:pos x="92" y="1547"/>
                    </a:cxn>
                    <a:cxn ang="0">
                      <a:pos x="103" y="1672"/>
                    </a:cxn>
                    <a:cxn ang="0">
                      <a:pos x="161" y="1815"/>
                    </a:cxn>
                    <a:cxn ang="0">
                      <a:pos x="285" y="2035"/>
                    </a:cxn>
                    <a:cxn ang="0">
                      <a:pos x="350" y="1892"/>
                    </a:cxn>
                    <a:cxn ang="0">
                      <a:pos x="424" y="1784"/>
                    </a:cxn>
                    <a:cxn ang="0">
                      <a:pos x="436" y="1691"/>
                    </a:cxn>
                    <a:cxn ang="0">
                      <a:pos x="438" y="1566"/>
                    </a:cxn>
                    <a:cxn ang="0">
                      <a:pos x="346" y="1448"/>
                    </a:cxn>
                    <a:cxn ang="0">
                      <a:pos x="312" y="1328"/>
                    </a:cxn>
                    <a:cxn ang="0">
                      <a:pos x="346" y="1417"/>
                    </a:cxn>
                    <a:cxn ang="0">
                      <a:pos x="351" y="1515"/>
                    </a:cxn>
                    <a:cxn ang="0">
                      <a:pos x="442" y="1684"/>
                    </a:cxn>
                    <a:cxn ang="0">
                      <a:pos x="480" y="1383"/>
                    </a:cxn>
                    <a:cxn ang="0">
                      <a:pos x="645" y="1164"/>
                    </a:cxn>
                    <a:cxn ang="0">
                      <a:pos x="651" y="830"/>
                    </a:cxn>
                    <a:cxn ang="0">
                      <a:pos x="633" y="484"/>
                    </a:cxn>
                    <a:cxn ang="0">
                      <a:pos x="638" y="211"/>
                    </a:cxn>
                    <a:cxn ang="0">
                      <a:pos x="689" y="0"/>
                    </a:cxn>
                  </a:cxnLst>
                  <a:rect l="0" t="0" r="r" b="b"/>
                  <a:pathLst>
                    <a:path w="710" h="2035">
                      <a:moveTo>
                        <a:pt x="710" y="8"/>
                      </a:moveTo>
                      <a:cubicBezTo>
                        <a:pt x="634" y="55"/>
                        <a:pt x="553" y="92"/>
                        <a:pt x="461" y="124"/>
                      </a:cubicBezTo>
                      <a:cubicBezTo>
                        <a:pt x="373" y="155"/>
                        <a:pt x="294" y="189"/>
                        <a:pt x="220" y="242"/>
                      </a:cubicBezTo>
                      <a:cubicBezTo>
                        <a:pt x="122" y="311"/>
                        <a:pt x="102" y="391"/>
                        <a:pt x="97" y="511"/>
                      </a:cubicBezTo>
                      <a:cubicBezTo>
                        <a:pt x="92" y="641"/>
                        <a:pt x="50" y="759"/>
                        <a:pt x="45" y="889"/>
                      </a:cubicBezTo>
                      <a:cubicBezTo>
                        <a:pt x="40" y="1001"/>
                        <a:pt x="36" y="1107"/>
                        <a:pt x="19" y="1215"/>
                      </a:cubicBezTo>
                      <a:cubicBezTo>
                        <a:pt x="0" y="1330"/>
                        <a:pt x="58" y="1440"/>
                        <a:pt x="92" y="1547"/>
                      </a:cubicBezTo>
                      <a:cubicBezTo>
                        <a:pt x="109" y="1602"/>
                        <a:pt x="106" y="1613"/>
                        <a:pt x="103" y="1672"/>
                      </a:cubicBezTo>
                      <a:cubicBezTo>
                        <a:pt x="100" y="1744"/>
                        <a:pt x="128" y="1759"/>
                        <a:pt x="161" y="1815"/>
                      </a:cubicBezTo>
                      <a:cubicBezTo>
                        <a:pt x="199" y="1882"/>
                        <a:pt x="204" y="1990"/>
                        <a:pt x="285" y="2035"/>
                      </a:cubicBezTo>
                      <a:cubicBezTo>
                        <a:pt x="302" y="1952"/>
                        <a:pt x="281" y="1934"/>
                        <a:pt x="350" y="1892"/>
                      </a:cubicBezTo>
                      <a:cubicBezTo>
                        <a:pt x="393" y="1865"/>
                        <a:pt x="418" y="1834"/>
                        <a:pt x="424" y="1784"/>
                      </a:cubicBezTo>
                      <a:cubicBezTo>
                        <a:pt x="484" y="1758"/>
                        <a:pt x="441" y="1724"/>
                        <a:pt x="436" y="1691"/>
                      </a:cubicBezTo>
                      <a:cubicBezTo>
                        <a:pt x="430" y="1650"/>
                        <a:pt x="449" y="1610"/>
                        <a:pt x="438" y="1566"/>
                      </a:cubicBezTo>
                      <a:cubicBezTo>
                        <a:pt x="423" y="1511"/>
                        <a:pt x="375" y="1496"/>
                        <a:pt x="346" y="1448"/>
                      </a:cubicBezTo>
                      <a:cubicBezTo>
                        <a:pt x="323" y="1410"/>
                        <a:pt x="333" y="1365"/>
                        <a:pt x="312" y="1328"/>
                      </a:cubicBezTo>
                      <a:cubicBezTo>
                        <a:pt x="315" y="1365"/>
                        <a:pt x="336" y="1385"/>
                        <a:pt x="346" y="1417"/>
                      </a:cubicBezTo>
                      <a:cubicBezTo>
                        <a:pt x="357" y="1451"/>
                        <a:pt x="344" y="1485"/>
                        <a:pt x="351" y="1515"/>
                      </a:cubicBezTo>
                      <a:cubicBezTo>
                        <a:pt x="364" y="1569"/>
                        <a:pt x="421" y="1628"/>
                        <a:pt x="442" y="1684"/>
                      </a:cubicBezTo>
                      <a:cubicBezTo>
                        <a:pt x="541" y="1665"/>
                        <a:pt x="458" y="1450"/>
                        <a:pt x="480" y="1383"/>
                      </a:cubicBezTo>
                      <a:cubicBezTo>
                        <a:pt x="507" y="1304"/>
                        <a:pt x="600" y="1240"/>
                        <a:pt x="645" y="1164"/>
                      </a:cubicBezTo>
                      <a:cubicBezTo>
                        <a:pt x="695" y="1079"/>
                        <a:pt x="681" y="927"/>
                        <a:pt x="651" y="830"/>
                      </a:cubicBezTo>
                      <a:cubicBezTo>
                        <a:pt x="617" y="717"/>
                        <a:pt x="628" y="605"/>
                        <a:pt x="633" y="484"/>
                      </a:cubicBezTo>
                      <a:cubicBezTo>
                        <a:pt x="637" y="395"/>
                        <a:pt x="637" y="302"/>
                        <a:pt x="638" y="211"/>
                      </a:cubicBezTo>
                      <a:cubicBezTo>
                        <a:pt x="639" y="165"/>
                        <a:pt x="655" y="22"/>
                        <a:pt x="689" y="0"/>
                      </a:cubicBezTo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9" name="Freeform 423"/>
                <p:cNvSpPr>
                  <a:spLocks/>
                </p:cNvSpPr>
                <p:nvPr/>
              </p:nvSpPr>
              <p:spPr bwMode="gray">
                <a:xfrm>
                  <a:off x="6927562" y="2289634"/>
                  <a:ext cx="524620" cy="1473857"/>
                </a:xfrm>
                <a:custGeom>
                  <a:avLst/>
                  <a:gdLst/>
                  <a:ahLst/>
                  <a:cxnLst>
                    <a:cxn ang="0">
                      <a:pos x="26" y="26"/>
                    </a:cxn>
                    <a:cxn ang="0">
                      <a:pos x="78" y="195"/>
                    </a:cxn>
                    <a:cxn ang="0">
                      <a:pos x="78" y="378"/>
                    </a:cxn>
                    <a:cxn ang="0">
                      <a:pos x="52" y="756"/>
                    </a:cxn>
                    <a:cxn ang="0">
                      <a:pos x="223" y="1375"/>
                    </a:cxn>
                    <a:cxn ang="0">
                      <a:pos x="289" y="1722"/>
                    </a:cxn>
                    <a:cxn ang="0">
                      <a:pos x="365" y="1853"/>
                    </a:cxn>
                    <a:cxn ang="0">
                      <a:pos x="500" y="2003"/>
                    </a:cxn>
                    <a:cxn ang="0">
                      <a:pos x="605" y="1786"/>
                    </a:cxn>
                    <a:cxn ang="0">
                      <a:pos x="660" y="1638"/>
                    </a:cxn>
                    <a:cxn ang="0">
                      <a:pos x="690" y="1636"/>
                    </a:cxn>
                    <a:cxn ang="0">
                      <a:pos x="664" y="1494"/>
                    </a:cxn>
                    <a:cxn ang="0">
                      <a:pos x="685" y="1355"/>
                    </a:cxn>
                    <a:cxn ang="0">
                      <a:pos x="685" y="1173"/>
                    </a:cxn>
                    <a:cxn ang="0">
                      <a:pos x="698" y="996"/>
                    </a:cxn>
                    <a:cxn ang="0">
                      <a:pos x="581" y="306"/>
                    </a:cxn>
                    <a:cxn ang="0">
                      <a:pos x="553" y="209"/>
                    </a:cxn>
                    <a:cxn ang="0">
                      <a:pos x="478" y="156"/>
                    </a:cxn>
                    <a:cxn ang="0">
                      <a:pos x="255" y="58"/>
                    </a:cxn>
                    <a:cxn ang="0">
                      <a:pos x="124" y="53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713" h="2003">
                      <a:moveTo>
                        <a:pt x="26" y="26"/>
                      </a:moveTo>
                      <a:cubicBezTo>
                        <a:pt x="41" y="88"/>
                        <a:pt x="75" y="128"/>
                        <a:pt x="78" y="195"/>
                      </a:cubicBezTo>
                      <a:cubicBezTo>
                        <a:pt x="81" y="255"/>
                        <a:pt x="81" y="318"/>
                        <a:pt x="78" y="378"/>
                      </a:cubicBezTo>
                      <a:cubicBezTo>
                        <a:pt x="72" y="504"/>
                        <a:pt x="69" y="632"/>
                        <a:pt x="52" y="756"/>
                      </a:cubicBezTo>
                      <a:cubicBezTo>
                        <a:pt x="21" y="976"/>
                        <a:pt x="157" y="1175"/>
                        <a:pt x="223" y="1375"/>
                      </a:cubicBezTo>
                      <a:cubicBezTo>
                        <a:pt x="259" y="1483"/>
                        <a:pt x="243" y="1613"/>
                        <a:pt x="289" y="1722"/>
                      </a:cubicBezTo>
                      <a:cubicBezTo>
                        <a:pt x="305" y="1763"/>
                        <a:pt x="322" y="1844"/>
                        <a:pt x="365" y="1853"/>
                      </a:cubicBezTo>
                      <a:cubicBezTo>
                        <a:pt x="439" y="1868"/>
                        <a:pt x="480" y="1987"/>
                        <a:pt x="500" y="2003"/>
                      </a:cubicBezTo>
                      <a:cubicBezTo>
                        <a:pt x="528" y="1954"/>
                        <a:pt x="585" y="1837"/>
                        <a:pt x="605" y="1786"/>
                      </a:cubicBezTo>
                      <a:cubicBezTo>
                        <a:pt x="627" y="1729"/>
                        <a:pt x="664" y="1706"/>
                        <a:pt x="660" y="1638"/>
                      </a:cubicBezTo>
                      <a:cubicBezTo>
                        <a:pt x="669" y="1639"/>
                        <a:pt x="681" y="1635"/>
                        <a:pt x="690" y="1636"/>
                      </a:cubicBezTo>
                      <a:cubicBezTo>
                        <a:pt x="713" y="1578"/>
                        <a:pt x="679" y="1543"/>
                        <a:pt x="664" y="1494"/>
                      </a:cubicBezTo>
                      <a:cubicBezTo>
                        <a:pt x="646" y="1434"/>
                        <a:pt x="677" y="1415"/>
                        <a:pt x="685" y="1355"/>
                      </a:cubicBezTo>
                      <a:cubicBezTo>
                        <a:pt x="693" y="1296"/>
                        <a:pt x="680" y="1233"/>
                        <a:pt x="685" y="1173"/>
                      </a:cubicBezTo>
                      <a:cubicBezTo>
                        <a:pt x="690" y="1114"/>
                        <a:pt x="705" y="1058"/>
                        <a:pt x="698" y="996"/>
                      </a:cubicBezTo>
                      <a:cubicBezTo>
                        <a:pt x="673" y="769"/>
                        <a:pt x="636" y="526"/>
                        <a:pt x="581" y="306"/>
                      </a:cubicBezTo>
                      <a:cubicBezTo>
                        <a:pt x="574" y="278"/>
                        <a:pt x="570" y="231"/>
                        <a:pt x="553" y="209"/>
                      </a:cubicBezTo>
                      <a:cubicBezTo>
                        <a:pt x="533" y="182"/>
                        <a:pt x="477" y="162"/>
                        <a:pt x="478" y="156"/>
                      </a:cubicBezTo>
                      <a:cubicBezTo>
                        <a:pt x="389" y="166"/>
                        <a:pt x="332" y="77"/>
                        <a:pt x="255" y="58"/>
                      </a:cubicBezTo>
                      <a:cubicBezTo>
                        <a:pt x="213" y="48"/>
                        <a:pt x="165" y="63"/>
                        <a:pt x="124" y="53"/>
                      </a:cubicBezTo>
                      <a:cubicBezTo>
                        <a:pt x="82" y="43"/>
                        <a:pt x="34" y="21"/>
                        <a:pt x="0" y="0"/>
                      </a:cubicBezTo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0" name="Freeform 425"/>
                <p:cNvSpPr>
                  <a:spLocks/>
                </p:cNvSpPr>
                <p:nvPr/>
              </p:nvSpPr>
              <p:spPr bwMode="gray">
                <a:xfrm>
                  <a:off x="6702324" y="2488391"/>
                  <a:ext cx="224615" cy="991294"/>
                </a:xfrm>
                <a:custGeom>
                  <a:avLst/>
                  <a:gdLst/>
                  <a:ahLst/>
                  <a:cxnLst>
                    <a:cxn ang="0">
                      <a:pos x="65" y="43"/>
                    </a:cxn>
                    <a:cxn ang="0">
                      <a:pos x="51" y="199"/>
                    </a:cxn>
                    <a:cxn ang="0">
                      <a:pos x="12" y="343"/>
                    </a:cxn>
                    <a:cxn ang="0">
                      <a:pos x="25" y="499"/>
                    </a:cxn>
                    <a:cxn ang="0">
                      <a:pos x="6" y="676"/>
                    </a:cxn>
                    <a:cxn ang="0">
                      <a:pos x="19" y="1021"/>
                    </a:cxn>
                    <a:cxn ang="0">
                      <a:pos x="19" y="1222"/>
                    </a:cxn>
                    <a:cxn ang="0">
                      <a:pos x="125" y="1313"/>
                    </a:cxn>
                    <a:cxn ang="0">
                      <a:pos x="215" y="1300"/>
                    </a:cxn>
                    <a:cxn ang="0">
                      <a:pos x="274" y="1238"/>
                    </a:cxn>
                    <a:cxn ang="0">
                      <a:pos x="260" y="923"/>
                    </a:cxn>
                    <a:cxn ang="0">
                      <a:pos x="233" y="599"/>
                    </a:cxn>
                    <a:cxn ang="0">
                      <a:pos x="195" y="271"/>
                    </a:cxn>
                    <a:cxn ang="0">
                      <a:pos x="109" y="5"/>
                    </a:cxn>
                    <a:cxn ang="0">
                      <a:pos x="71" y="10"/>
                    </a:cxn>
                  </a:cxnLst>
                  <a:rect l="0" t="0" r="r" b="b"/>
                  <a:pathLst>
                    <a:path w="305" h="1347">
                      <a:moveTo>
                        <a:pt x="65" y="43"/>
                      </a:moveTo>
                      <a:cubicBezTo>
                        <a:pt x="65" y="98"/>
                        <a:pt x="64" y="149"/>
                        <a:pt x="51" y="199"/>
                      </a:cubicBezTo>
                      <a:cubicBezTo>
                        <a:pt x="38" y="249"/>
                        <a:pt x="15" y="290"/>
                        <a:pt x="12" y="343"/>
                      </a:cubicBezTo>
                      <a:cubicBezTo>
                        <a:pt x="10" y="396"/>
                        <a:pt x="24" y="446"/>
                        <a:pt x="25" y="499"/>
                      </a:cubicBezTo>
                      <a:cubicBezTo>
                        <a:pt x="27" y="562"/>
                        <a:pt x="9" y="614"/>
                        <a:pt x="6" y="676"/>
                      </a:cubicBezTo>
                      <a:cubicBezTo>
                        <a:pt x="1" y="794"/>
                        <a:pt x="13" y="908"/>
                        <a:pt x="19" y="1021"/>
                      </a:cubicBezTo>
                      <a:cubicBezTo>
                        <a:pt x="21" y="1070"/>
                        <a:pt x="0" y="1184"/>
                        <a:pt x="19" y="1222"/>
                      </a:cubicBezTo>
                      <a:cubicBezTo>
                        <a:pt x="28" y="1241"/>
                        <a:pt x="107" y="1301"/>
                        <a:pt x="125" y="1313"/>
                      </a:cubicBezTo>
                      <a:cubicBezTo>
                        <a:pt x="174" y="1347"/>
                        <a:pt x="167" y="1337"/>
                        <a:pt x="215" y="1300"/>
                      </a:cubicBezTo>
                      <a:cubicBezTo>
                        <a:pt x="241" y="1280"/>
                        <a:pt x="266" y="1268"/>
                        <a:pt x="274" y="1238"/>
                      </a:cubicBezTo>
                      <a:cubicBezTo>
                        <a:pt x="305" y="1224"/>
                        <a:pt x="260" y="978"/>
                        <a:pt x="260" y="923"/>
                      </a:cubicBezTo>
                      <a:cubicBezTo>
                        <a:pt x="260" y="807"/>
                        <a:pt x="243" y="709"/>
                        <a:pt x="233" y="599"/>
                      </a:cubicBezTo>
                      <a:cubicBezTo>
                        <a:pt x="223" y="492"/>
                        <a:pt x="225" y="372"/>
                        <a:pt x="195" y="271"/>
                      </a:cubicBezTo>
                      <a:cubicBezTo>
                        <a:pt x="171" y="188"/>
                        <a:pt x="157" y="79"/>
                        <a:pt x="109" y="5"/>
                      </a:cubicBezTo>
                      <a:cubicBezTo>
                        <a:pt x="94" y="0"/>
                        <a:pt x="80" y="4"/>
                        <a:pt x="71" y="10"/>
                      </a:cubicBezTo>
                    </a:path>
                  </a:pathLst>
                </a:custGeom>
                <a:solidFill>
                  <a:srgbClr val="FD9B0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1" name="Freeform 426"/>
                <p:cNvSpPr>
                  <a:spLocks/>
                </p:cNvSpPr>
                <p:nvPr/>
              </p:nvSpPr>
              <p:spPr bwMode="gray">
                <a:xfrm>
                  <a:off x="6710424" y="2429511"/>
                  <a:ext cx="114021" cy="150158"/>
                </a:xfrm>
                <a:custGeom>
                  <a:avLst/>
                  <a:gdLst/>
                  <a:ahLst/>
                  <a:cxnLst>
                    <a:cxn ang="0">
                      <a:pos x="27" y="55"/>
                    </a:cxn>
                    <a:cxn ang="0">
                      <a:pos x="144" y="76"/>
                    </a:cxn>
                    <a:cxn ang="0">
                      <a:pos x="27" y="55"/>
                    </a:cxn>
                  </a:cxnLst>
                  <a:rect l="0" t="0" r="r" b="b"/>
                  <a:pathLst>
                    <a:path w="155" h="204">
                      <a:moveTo>
                        <a:pt x="27" y="55"/>
                      </a:moveTo>
                      <a:cubicBezTo>
                        <a:pt x="77" y="0"/>
                        <a:pt x="89" y="9"/>
                        <a:pt x="144" y="76"/>
                      </a:cubicBezTo>
                      <a:cubicBezTo>
                        <a:pt x="155" y="204"/>
                        <a:pt x="0" y="167"/>
                        <a:pt x="27" y="55"/>
                      </a:cubicBezTo>
                    </a:path>
                  </a:pathLst>
                </a:custGeom>
                <a:solidFill>
                  <a:srgbClr val="808080">
                    <a:lumMod val="75000"/>
                  </a:srgb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2" name="Freeform 427"/>
                <p:cNvSpPr>
                  <a:spLocks/>
                </p:cNvSpPr>
                <p:nvPr/>
              </p:nvSpPr>
              <p:spPr bwMode="gray">
                <a:xfrm>
                  <a:off x="6691420" y="2404277"/>
                  <a:ext cx="152339" cy="142993"/>
                </a:xfrm>
                <a:custGeom>
                  <a:avLst/>
                  <a:gdLst/>
                  <a:ahLst/>
                  <a:cxnLst>
                    <a:cxn ang="0">
                      <a:pos x="27" y="78"/>
                    </a:cxn>
                    <a:cxn ang="0">
                      <a:pos x="196" y="66"/>
                    </a:cxn>
                    <a:cxn ang="0">
                      <a:pos x="27" y="78"/>
                    </a:cxn>
                  </a:cxnLst>
                  <a:rect l="0" t="0" r="r" b="b"/>
                  <a:pathLst>
                    <a:path w="207" h="194">
                      <a:moveTo>
                        <a:pt x="27" y="78"/>
                      </a:moveTo>
                      <a:cubicBezTo>
                        <a:pt x="77" y="23"/>
                        <a:pt x="142" y="0"/>
                        <a:pt x="196" y="66"/>
                      </a:cubicBezTo>
                      <a:cubicBezTo>
                        <a:pt x="207" y="194"/>
                        <a:pt x="0" y="190"/>
                        <a:pt x="27" y="78"/>
                      </a:cubicBezTo>
                    </a:path>
                  </a:pathLst>
                </a:custGeom>
                <a:solidFill>
                  <a:srgbClr val="FD9B0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3" name="Freeform 428"/>
                <p:cNvSpPr>
                  <a:spLocks/>
                </p:cNvSpPr>
                <p:nvPr/>
              </p:nvSpPr>
              <p:spPr bwMode="gray">
                <a:xfrm>
                  <a:off x="6592665" y="2313310"/>
                  <a:ext cx="158881" cy="236141"/>
                </a:xfrm>
                <a:custGeom>
                  <a:avLst/>
                  <a:gdLst/>
                  <a:ahLst/>
                  <a:cxnLst>
                    <a:cxn ang="0">
                      <a:pos x="64" y="0"/>
                    </a:cxn>
                    <a:cxn ang="0">
                      <a:pos x="44" y="157"/>
                    </a:cxn>
                    <a:cxn ang="0">
                      <a:pos x="116" y="321"/>
                    </a:cxn>
                    <a:cxn ang="0">
                      <a:pos x="199" y="157"/>
                    </a:cxn>
                    <a:cxn ang="0">
                      <a:pos x="64" y="0"/>
                    </a:cxn>
                  </a:cxnLst>
                  <a:rect l="0" t="0" r="r" b="b"/>
                  <a:pathLst>
                    <a:path w="216" h="321">
                      <a:moveTo>
                        <a:pt x="64" y="0"/>
                      </a:moveTo>
                      <a:cubicBezTo>
                        <a:pt x="0" y="59"/>
                        <a:pt x="8" y="82"/>
                        <a:pt x="44" y="157"/>
                      </a:cubicBezTo>
                      <a:cubicBezTo>
                        <a:pt x="69" y="212"/>
                        <a:pt x="82" y="269"/>
                        <a:pt x="116" y="321"/>
                      </a:cubicBezTo>
                      <a:cubicBezTo>
                        <a:pt x="139" y="272"/>
                        <a:pt x="216" y="223"/>
                        <a:pt x="199" y="157"/>
                      </a:cubicBezTo>
                      <a:cubicBezTo>
                        <a:pt x="190" y="118"/>
                        <a:pt x="98" y="14"/>
                        <a:pt x="64" y="0"/>
                      </a:cubicBezTo>
                    </a:path>
                  </a:pathLst>
                </a:custGeom>
                <a:solidFill>
                  <a:srgbClr val="F0F0F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4" name="Freeform 429"/>
                <p:cNvSpPr>
                  <a:spLocks/>
                </p:cNvSpPr>
                <p:nvPr/>
              </p:nvSpPr>
              <p:spPr bwMode="gray">
                <a:xfrm>
                  <a:off x="6809803" y="2256611"/>
                  <a:ext cx="209661" cy="280379"/>
                </a:xfrm>
                <a:custGeom>
                  <a:avLst/>
                  <a:gdLst/>
                  <a:ahLst/>
                  <a:cxnLst>
                    <a:cxn ang="0">
                      <a:pos x="139" y="0"/>
                    </a:cxn>
                    <a:cxn ang="0">
                      <a:pos x="14" y="230"/>
                    </a:cxn>
                    <a:cxn ang="0">
                      <a:pos x="108" y="381"/>
                    </a:cxn>
                    <a:cxn ang="0">
                      <a:pos x="139" y="0"/>
                    </a:cxn>
                  </a:cxnLst>
                  <a:rect l="0" t="0" r="r" b="b"/>
                  <a:pathLst>
                    <a:path w="285" h="381">
                      <a:moveTo>
                        <a:pt x="139" y="0"/>
                      </a:moveTo>
                      <a:cubicBezTo>
                        <a:pt x="137" y="100"/>
                        <a:pt x="30" y="143"/>
                        <a:pt x="14" y="230"/>
                      </a:cubicBezTo>
                      <a:cubicBezTo>
                        <a:pt x="0" y="301"/>
                        <a:pt x="66" y="333"/>
                        <a:pt x="108" y="381"/>
                      </a:cubicBezTo>
                      <a:cubicBezTo>
                        <a:pt x="181" y="285"/>
                        <a:pt x="285" y="67"/>
                        <a:pt x="139" y="0"/>
                      </a:cubicBezTo>
                      <a:close/>
                    </a:path>
                  </a:pathLst>
                </a:custGeom>
                <a:solidFill>
                  <a:srgbClr val="F0F0F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5" name="Freeform 430"/>
                <p:cNvSpPr>
                  <a:spLocks/>
                </p:cNvSpPr>
                <p:nvPr/>
              </p:nvSpPr>
              <p:spPr bwMode="gray">
                <a:xfrm>
                  <a:off x="6759646" y="3542926"/>
                  <a:ext cx="114021" cy="34580"/>
                </a:xfrm>
                <a:custGeom>
                  <a:avLst/>
                  <a:gdLst/>
                  <a:ahLst/>
                  <a:cxnLst>
                    <a:cxn ang="0">
                      <a:pos x="0" y="45"/>
                    </a:cxn>
                    <a:cxn ang="0">
                      <a:pos x="155" y="44"/>
                    </a:cxn>
                    <a:cxn ang="0">
                      <a:pos x="0" y="19"/>
                    </a:cxn>
                  </a:cxnLst>
                  <a:rect l="0" t="0" r="r" b="b"/>
                  <a:pathLst>
                    <a:path w="155" h="47">
                      <a:moveTo>
                        <a:pt x="0" y="45"/>
                      </a:moveTo>
                      <a:cubicBezTo>
                        <a:pt x="51" y="45"/>
                        <a:pt x="104" y="47"/>
                        <a:pt x="155" y="44"/>
                      </a:cubicBezTo>
                      <a:cubicBezTo>
                        <a:pt x="142" y="0"/>
                        <a:pt x="41" y="19"/>
                        <a:pt x="0" y="19"/>
                      </a:cubicBezTo>
                    </a:path>
                  </a:pathLst>
                </a:custGeom>
                <a:solidFill>
                  <a:srgbClr val="F0F0F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6" name="Freeform 431"/>
                <p:cNvSpPr>
                  <a:spLocks/>
                </p:cNvSpPr>
                <p:nvPr/>
              </p:nvSpPr>
              <p:spPr bwMode="gray">
                <a:xfrm>
                  <a:off x="6783945" y="1717973"/>
                  <a:ext cx="205300" cy="330224"/>
                </a:xfrm>
                <a:custGeom>
                  <a:avLst/>
                  <a:gdLst/>
                  <a:ahLst/>
                  <a:cxnLst>
                    <a:cxn ang="0">
                      <a:pos x="110" y="150"/>
                    </a:cxn>
                    <a:cxn ang="0">
                      <a:pos x="144" y="299"/>
                    </a:cxn>
                    <a:cxn ang="0">
                      <a:pos x="174" y="301"/>
                    </a:cxn>
                    <a:cxn ang="0">
                      <a:pos x="213" y="449"/>
                    </a:cxn>
                    <a:cxn ang="0">
                      <a:pos x="215" y="412"/>
                    </a:cxn>
                    <a:cxn ang="0">
                      <a:pos x="246" y="423"/>
                    </a:cxn>
                    <a:cxn ang="0">
                      <a:pos x="242" y="321"/>
                    </a:cxn>
                    <a:cxn ang="0">
                      <a:pos x="265" y="332"/>
                    </a:cxn>
                    <a:cxn ang="0">
                      <a:pos x="254" y="268"/>
                    </a:cxn>
                    <a:cxn ang="0">
                      <a:pos x="272" y="274"/>
                    </a:cxn>
                    <a:cxn ang="0">
                      <a:pos x="144" y="64"/>
                    </a:cxn>
                    <a:cxn ang="0">
                      <a:pos x="36" y="32"/>
                    </a:cxn>
                    <a:cxn ang="0">
                      <a:pos x="78" y="150"/>
                    </a:cxn>
                  </a:cxnLst>
                  <a:rect l="0" t="0" r="r" b="b"/>
                  <a:pathLst>
                    <a:path w="279" h="449">
                      <a:moveTo>
                        <a:pt x="110" y="150"/>
                      </a:moveTo>
                      <a:cubicBezTo>
                        <a:pt x="154" y="187"/>
                        <a:pt x="141" y="247"/>
                        <a:pt x="144" y="299"/>
                      </a:cubicBezTo>
                      <a:cubicBezTo>
                        <a:pt x="153" y="298"/>
                        <a:pt x="165" y="302"/>
                        <a:pt x="174" y="301"/>
                      </a:cubicBezTo>
                      <a:cubicBezTo>
                        <a:pt x="177" y="347"/>
                        <a:pt x="156" y="440"/>
                        <a:pt x="213" y="449"/>
                      </a:cubicBezTo>
                      <a:cubicBezTo>
                        <a:pt x="212" y="438"/>
                        <a:pt x="217" y="423"/>
                        <a:pt x="215" y="412"/>
                      </a:cubicBezTo>
                      <a:cubicBezTo>
                        <a:pt x="223" y="417"/>
                        <a:pt x="240" y="420"/>
                        <a:pt x="246" y="423"/>
                      </a:cubicBezTo>
                      <a:cubicBezTo>
                        <a:pt x="253" y="387"/>
                        <a:pt x="238" y="357"/>
                        <a:pt x="242" y="321"/>
                      </a:cubicBezTo>
                      <a:cubicBezTo>
                        <a:pt x="248" y="324"/>
                        <a:pt x="258" y="327"/>
                        <a:pt x="265" y="332"/>
                      </a:cubicBezTo>
                      <a:cubicBezTo>
                        <a:pt x="265" y="310"/>
                        <a:pt x="261" y="287"/>
                        <a:pt x="254" y="268"/>
                      </a:cubicBezTo>
                      <a:cubicBezTo>
                        <a:pt x="261" y="269"/>
                        <a:pt x="266" y="272"/>
                        <a:pt x="272" y="274"/>
                      </a:cubicBezTo>
                      <a:cubicBezTo>
                        <a:pt x="279" y="182"/>
                        <a:pt x="203" y="125"/>
                        <a:pt x="144" y="64"/>
                      </a:cubicBezTo>
                      <a:cubicBezTo>
                        <a:pt x="125" y="43"/>
                        <a:pt x="67" y="0"/>
                        <a:pt x="36" y="32"/>
                      </a:cubicBezTo>
                      <a:cubicBezTo>
                        <a:pt x="0" y="71"/>
                        <a:pt x="65" y="124"/>
                        <a:pt x="78" y="150"/>
                      </a:cubicBezTo>
                    </a:path>
                  </a:pathLst>
                </a:custGeom>
                <a:solidFill>
                  <a:srgbClr val="877468"/>
                </a:solidFill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7" name="Freeform 432"/>
                <p:cNvSpPr>
                  <a:spLocks/>
                </p:cNvSpPr>
                <p:nvPr/>
              </p:nvSpPr>
              <p:spPr bwMode="gray">
                <a:xfrm>
                  <a:off x="6783945" y="1717973"/>
                  <a:ext cx="205300" cy="330224"/>
                </a:xfrm>
                <a:custGeom>
                  <a:avLst/>
                  <a:gdLst/>
                  <a:ahLst/>
                  <a:cxnLst>
                    <a:cxn ang="0">
                      <a:pos x="110" y="150"/>
                    </a:cxn>
                    <a:cxn ang="0">
                      <a:pos x="144" y="299"/>
                    </a:cxn>
                    <a:cxn ang="0">
                      <a:pos x="174" y="301"/>
                    </a:cxn>
                    <a:cxn ang="0">
                      <a:pos x="213" y="449"/>
                    </a:cxn>
                    <a:cxn ang="0">
                      <a:pos x="215" y="412"/>
                    </a:cxn>
                    <a:cxn ang="0">
                      <a:pos x="246" y="423"/>
                    </a:cxn>
                    <a:cxn ang="0">
                      <a:pos x="242" y="321"/>
                    </a:cxn>
                    <a:cxn ang="0">
                      <a:pos x="265" y="332"/>
                    </a:cxn>
                    <a:cxn ang="0">
                      <a:pos x="254" y="268"/>
                    </a:cxn>
                    <a:cxn ang="0">
                      <a:pos x="272" y="274"/>
                    </a:cxn>
                    <a:cxn ang="0">
                      <a:pos x="144" y="64"/>
                    </a:cxn>
                    <a:cxn ang="0">
                      <a:pos x="36" y="32"/>
                    </a:cxn>
                    <a:cxn ang="0">
                      <a:pos x="78" y="150"/>
                    </a:cxn>
                  </a:cxnLst>
                  <a:rect l="0" t="0" r="r" b="b"/>
                  <a:pathLst>
                    <a:path w="279" h="449">
                      <a:moveTo>
                        <a:pt x="110" y="150"/>
                      </a:moveTo>
                      <a:cubicBezTo>
                        <a:pt x="154" y="187"/>
                        <a:pt x="141" y="247"/>
                        <a:pt x="144" y="299"/>
                      </a:cubicBezTo>
                      <a:cubicBezTo>
                        <a:pt x="153" y="298"/>
                        <a:pt x="165" y="302"/>
                        <a:pt x="174" y="301"/>
                      </a:cubicBezTo>
                      <a:cubicBezTo>
                        <a:pt x="177" y="347"/>
                        <a:pt x="156" y="440"/>
                        <a:pt x="213" y="449"/>
                      </a:cubicBezTo>
                      <a:cubicBezTo>
                        <a:pt x="212" y="438"/>
                        <a:pt x="217" y="423"/>
                        <a:pt x="215" y="412"/>
                      </a:cubicBezTo>
                      <a:cubicBezTo>
                        <a:pt x="223" y="417"/>
                        <a:pt x="240" y="420"/>
                        <a:pt x="246" y="423"/>
                      </a:cubicBezTo>
                      <a:cubicBezTo>
                        <a:pt x="253" y="387"/>
                        <a:pt x="238" y="357"/>
                        <a:pt x="242" y="321"/>
                      </a:cubicBezTo>
                      <a:cubicBezTo>
                        <a:pt x="248" y="324"/>
                        <a:pt x="258" y="327"/>
                        <a:pt x="265" y="332"/>
                      </a:cubicBezTo>
                      <a:cubicBezTo>
                        <a:pt x="265" y="310"/>
                        <a:pt x="261" y="287"/>
                        <a:pt x="254" y="268"/>
                      </a:cubicBezTo>
                      <a:cubicBezTo>
                        <a:pt x="261" y="269"/>
                        <a:pt x="266" y="272"/>
                        <a:pt x="272" y="274"/>
                      </a:cubicBezTo>
                      <a:cubicBezTo>
                        <a:pt x="279" y="182"/>
                        <a:pt x="203" y="125"/>
                        <a:pt x="144" y="64"/>
                      </a:cubicBezTo>
                      <a:cubicBezTo>
                        <a:pt x="125" y="43"/>
                        <a:pt x="67" y="0"/>
                        <a:pt x="36" y="32"/>
                      </a:cubicBezTo>
                      <a:cubicBezTo>
                        <a:pt x="0" y="71"/>
                        <a:pt x="65" y="124"/>
                        <a:pt x="78" y="150"/>
                      </a:cubicBezTo>
                    </a:path>
                  </a:pathLst>
                </a:custGeom>
                <a:solidFill>
                  <a:srgbClr val="000000"/>
                </a:solidFill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8" name="Freeform 433"/>
                <p:cNvSpPr>
                  <a:spLocks/>
                </p:cNvSpPr>
                <p:nvPr/>
              </p:nvSpPr>
              <p:spPr bwMode="gray">
                <a:xfrm>
                  <a:off x="6519766" y="1695854"/>
                  <a:ext cx="424618" cy="386299"/>
                </a:xfrm>
                <a:custGeom>
                  <a:avLst/>
                  <a:gdLst/>
                  <a:ahLst/>
                  <a:cxnLst>
                    <a:cxn ang="0">
                      <a:pos x="19" y="409"/>
                    </a:cxn>
                    <a:cxn ang="0">
                      <a:pos x="45" y="401"/>
                    </a:cxn>
                    <a:cxn ang="0">
                      <a:pos x="96" y="525"/>
                    </a:cxn>
                    <a:cxn ang="0">
                      <a:pos x="97" y="441"/>
                    </a:cxn>
                    <a:cxn ang="0">
                      <a:pos x="116" y="371"/>
                    </a:cxn>
                    <a:cxn ang="0">
                      <a:pos x="92" y="324"/>
                    </a:cxn>
                    <a:cxn ang="0">
                      <a:pos x="129" y="343"/>
                    </a:cxn>
                    <a:cxn ang="0">
                      <a:pos x="131" y="227"/>
                    </a:cxn>
                    <a:cxn ang="0">
                      <a:pos x="200" y="212"/>
                    </a:cxn>
                    <a:cxn ang="0">
                      <a:pos x="216" y="175"/>
                    </a:cxn>
                    <a:cxn ang="0">
                      <a:pos x="264" y="182"/>
                    </a:cxn>
                    <a:cxn ang="0">
                      <a:pos x="443" y="193"/>
                    </a:cxn>
                    <a:cxn ang="0">
                      <a:pos x="353" y="2"/>
                    </a:cxn>
                    <a:cxn ang="0">
                      <a:pos x="353" y="2"/>
                    </a:cxn>
                    <a:cxn ang="0">
                      <a:pos x="375" y="31"/>
                    </a:cxn>
                    <a:cxn ang="0">
                      <a:pos x="196" y="18"/>
                    </a:cxn>
                    <a:cxn ang="0">
                      <a:pos x="226" y="57"/>
                    </a:cxn>
                    <a:cxn ang="0">
                      <a:pos x="93" y="102"/>
                    </a:cxn>
                    <a:cxn ang="0">
                      <a:pos x="124" y="115"/>
                    </a:cxn>
                    <a:cxn ang="0">
                      <a:pos x="27" y="254"/>
                    </a:cxn>
                    <a:cxn ang="0">
                      <a:pos x="27" y="343"/>
                    </a:cxn>
                    <a:cxn ang="0">
                      <a:pos x="0" y="414"/>
                    </a:cxn>
                    <a:cxn ang="0">
                      <a:pos x="50" y="403"/>
                    </a:cxn>
                    <a:cxn ang="0">
                      <a:pos x="65" y="441"/>
                    </a:cxn>
                  </a:cxnLst>
                  <a:rect l="0" t="0" r="r" b="b"/>
                  <a:pathLst>
                    <a:path w="577" h="525">
                      <a:moveTo>
                        <a:pt x="19" y="409"/>
                      </a:moveTo>
                      <a:cubicBezTo>
                        <a:pt x="29" y="405"/>
                        <a:pt x="36" y="410"/>
                        <a:pt x="45" y="401"/>
                      </a:cubicBezTo>
                      <a:cubicBezTo>
                        <a:pt x="87" y="433"/>
                        <a:pt x="29" y="516"/>
                        <a:pt x="96" y="525"/>
                      </a:cubicBezTo>
                      <a:cubicBezTo>
                        <a:pt x="98" y="498"/>
                        <a:pt x="93" y="468"/>
                        <a:pt x="97" y="441"/>
                      </a:cubicBezTo>
                      <a:cubicBezTo>
                        <a:pt x="101" y="415"/>
                        <a:pt x="126" y="405"/>
                        <a:pt x="116" y="371"/>
                      </a:cubicBezTo>
                      <a:cubicBezTo>
                        <a:pt x="96" y="357"/>
                        <a:pt x="93" y="351"/>
                        <a:pt x="92" y="324"/>
                      </a:cubicBezTo>
                      <a:cubicBezTo>
                        <a:pt x="102" y="332"/>
                        <a:pt x="118" y="334"/>
                        <a:pt x="129" y="343"/>
                      </a:cubicBezTo>
                      <a:cubicBezTo>
                        <a:pt x="131" y="305"/>
                        <a:pt x="129" y="265"/>
                        <a:pt x="131" y="227"/>
                      </a:cubicBezTo>
                      <a:cubicBezTo>
                        <a:pt x="157" y="228"/>
                        <a:pt x="178" y="222"/>
                        <a:pt x="200" y="212"/>
                      </a:cubicBezTo>
                      <a:cubicBezTo>
                        <a:pt x="209" y="208"/>
                        <a:pt x="206" y="178"/>
                        <a:pt x="216" y="175"/>
                      </a:cubicBezTo>
                      <a:cubicBezTo>
                        <a:pt x="232" y="170"/>
                        <a:pt x="248" y="182"/>
                        <a:pt x="264" y="182"/>
                      </a:cubicBezTo>
                      <a:cubicBezTo>
                        <a:pt x="318" y="181"/>
                        <a:pt x="384" y="207"/>
                        <a:pt x="443" y="193"/>
                      </a:cubicBezTo>
                      <a:cubicBezTo>
                        <a:pt x="577" y="163"/>
                        <a:pt x="444" y="13"/>
                        <a:pt x="353" y="2"/>
                      </a:cubicBezTo>
                      <a:cubicBezTo>
                        <a:pt x="350" y="0"/>
                        <a:pt x="350" y="0"/>
                        <a:pt x="353" y="2"/>
                      </a:cubicBezTo>
                      <a:cubicBezTo>
                        <a:pt x="362" y="11"/>
                        <a:pt x="367" y="23"/>
                        <a:pt x="375" y="31"/>
                      </a:cubicBezTo>
                      <a:cubicBezTo>
                        <a:pt x="319" y="16"/>
                        <a:pt x="258" y="15"/>
                        <a:pt x="196" y="18"/>
                      </a:cubicBezTo>
                      <a:cubicBezTo>
                        <a:pt x="206" y="28"/>
                        <a:pt x="213" y="46"/>
                        <a:pt x="226" y="57"/>
                      </a:cubicBezTo>
                      <a:cubicBezTo>
                        <a:pt x="184" y="54"/>
                        <a:pt x="128" y="79"/>
                        <a:pt x="93" y="102"/>
                      </a:cubicBezTo>
                      <a:cubicBezTo>
                        <a:pt x="112" y="103"/>
                        <a:pt x="112" y="111"/>
                        <a:pt x="124" y="115"/>
                      </a:cubicBezTo>
                      <a:cubicBezTo>
                        <a:pt x="82" y="146"/>
                        <a:pt x="40" y="207"/>
                        <a:pt x="27" y="254"/>
                      </a:cubicBezTo>
                      <a:cubicBezTo>
                        <a:pt x="19" y="285"/>
                        <a:pt x="30" y="314"/>
                        <a:pt x="27" y="343"/>
                      </a:cubicBezTo>
                      <a:cubicBezTo>
                        <a:pt x="24" y="372"/>
                        <a:pt x="13" y="386"/>
                        <a:pt x="0" y="414"/>
                      </a:cubicBezTo>
                      <a:cubicBezTo>
                        <a:pt x="15" y="407"/>
                        <a:pt x="37" y="408"/>
                        <a:pt x="50" y="403"/>
                      </a:cubicBezTo>
                      <a:cubicBezTo>
                        <a:pt x="46" y="424"/>
                        <a:pt x="61" y="429"/>
                        <a:pt x="65" y="441"/>
                      </a:cubicBezTo>
                    </a:path>
                  </a:pathLst>
                </a:custGeom>
                <a:solidFill>
                  <a:srgbClr val="000000"/>
                </a:solidFill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9" name="Freeform 434"/>
                <p:cNvSpPr>
                  <a:spLocks/>
                </p:cNvSpPr>
                <p:nvPr/>
              </p:nvSpPr>
              <p:spPr bwMode="gray">
                <a:xfrm>
                  <a:off x="6519766" y="1695854"/>
                  <a:ext cx="424618" cy="386299"/>
                </a:xfrm>
                <a:custGeom>
                  <a:avLst/>
                  <a:gdLst/>
                  <a:ahLst/>
                  <a:cxnLst>
                    <a:cxn ang="0">
                      <a:pos x="19" y="409"/>
                    </a:cxn>
                    <a:cxn ang="0">
                      <a:pos x="45" y="401"/>
                    </a:cxn>
                    <a:cxn ang="0">
                      <a:pos x="96" y="525"/>
                    </a:cxn>
                    <a:cxn ang="0">
                      <a:pos x="97" y="441"/>
                    </a:cxn>
                    <a:cxn ang="0">
                      <a:pos x="116" y="371"/>
                    </a:cxn>
                    <a:cxn ang="0">
                      <a:pos x="92" y="324"/>
                    </a:cxn>
                    <a:cxn ang="0">
                      <a:pos x="129" y="343"/>
                    </a:cxn>
                    <a:cxn ang="0">
                      <a:pos x="131" y="227"/>
                    </a:cxn>
                    <a:cxn ang="0">
                      <a:pos x="200" y="212"/>
                    </a:cxn>
                    <a:cxn ang="0">
                      <a:pos x="216" y="175"/>
                    </a:cxn>
                    <a:cxn ang="0">
                      <a:pos x="264" y="182"/>
                    </a:cxn>
                    <a:cxn ang="0">
                      <a:pos x="443" y="193"/>
                    </a:cxn>
                    <a:cxn ang="0">
                      <a:pos x="353" y="2"/>
                    </a:cxn>
                    <a:cxn ang="0">
                      <a:pos x="353" y="2"/>
                    </a:cxn>
                    <a:cxn ang="0">
                      <a:pos x="375" y="31"/>
                    </a:cxn>
                    <a:cxn ang="0">
                      <a:pos x="196" y="18"/>
                    </a:cxn>
                    <a:cxn ang="0">
                      <a:pos x="226" y="57"/>
                    </a:cxn>
                    <a:cxn ang="0">
                      <a:pos x="93" y="102"/>
                    </a:cxn>
                    <a:cxn ang="0">
                      <a:pos x="124" y="115"/>
                    </a:cxn>
                    <a:cxn ang="0">
                      <a:pos x="27" y="254"/>
                    </a:cxn>
                    <a:cxn ang="0">
                      <a:pos x="27" y="343"/>
                    </a:cxn>
                    <a:cxn ang="0">
                      <a:pos x="0" y="414"/>
                    </a:cxn>
                    <a:cxn ang="0">
                      <a:pos x="50" y="403"/>
                    </a:cxn>
                    <a:cxn ang="0">
                      <a:pos x="65" y="441"/>
                    </a:cxn>
                  </a:cxnLst>
                  <a:rect l="0" t="0" r="r" b="b"/>
                  <a:pathLst>
                    <a:path w="577" h="525">
                      <a:moveTo>
                        <a:pt x="19" y="409"/>
                      </a:moveTo>
                      <a:cubicBezTo>
                        <a:pt x="29" y="405"/>
                        <a:pt x="36" y="410"/>
                        <a:pt x="45" y="401"/>
                      </a:cubicBezTo>
                      <a:cubicBezTo>
                        <a:pt x="87" y="433"/>
                        <a:pt x="29" y="516"/>
                        <a:pt x="96" y="525"/>
                      </a:cubicBezTo>
                      <a:cubicBezTo>
                        <a:pt x="98" y="498"/>
                        <a:pt x="93" y="468"/>
                        <a:pt x="97" y="441"/>
                      </a:cubicBezTo>
                      <a:cubicBezTo>
                        <a:pt x="101" y="415"/>
                        <a:pt x="126" y="405"/>
                        <a:pt x="116" y="371"/>
                      </a:cubicBezTo>
                      <a:cubicBezTo>
                        <a:pt x="96" y="357"/>
                        <a:pt x="93" y="351"/>
                        <a:pt x="92" y="324"/>
                      </a:cubicBezTo>
                      <a:cubicBezTo>
                        <a:pt x="102" y="332"/>
                        <a:pt x="118" y="334"/>
                        <a:pt x="129" y="343"/>
                      </a:cubicBezTo>
                      <a:cubicBezTo>
                        <a:pt x="131" y="305"/>
                        <a:pt x="129" y="265"/>
                        <a:pt x="131" y="227"/>
                      </a:cubicBezTo>
                      <a:cubicBezTo>
                        <a:pt x="157" y="228"/>
                        <a:pt x="178" y="222"/>
                        <a:pt x="200" y="212"/>
                      </a:cubicBezTo>
                      <a:cubicBezTo>
                        <a:pt x="209" y="208"/>
                        <a:pt x="206" y="178"/>
                        <a:pt x="216" y="175"/>
                      </a:cubicBezTo>
                      <a:cubicBezTo>
                        <a:pt x="232" y="170"/>
                        <a:pt x="248" y="182"/>
                        <a:pt x="264" y="182"/>
                      </a:cubicBezTo>
                      <a:cubicBezTo>
                        <a:pt x="318" y="181"/>
                        <a:pt x="384" y="207"/>
                        <a:pt x="443" y="193"/>
                      </a:cubicBezTo>
                      <a:cubicBezTo>
                        <a:pt x="577" y="163"/>
                        <a:pt x="444" y="13"/>
                        <a:pt x="353" y="2"/>
                      </a:cubicBezTo>
                      <a:cubicBezTo>
                        <a:pt x="350" y="0"/>
                        <a:pt x="350" y="0"/>
                        <a:pt x="353" y="2"/>
                      </a:cubicBezTo>
                      <a:cubicBezTo>
                        <a:pt x="362" y="11"/>
                        <a:pt x="367" y="23"/>
                        <a:pt x="375" y="31"/>
                      </a:cubicBezTo>
                      <a:cubicBezTo>
                        <a:pt x="319" y="16"/>
                        <a:pt x="258" y="15"/>
                        <a:pt x="196" y="18"/>
                      </a:cubicBezTo>
                      <a:cubicBezTo>
                        <a:pt x="206" y="28"/>
                        <a:pt x="213" y="46"/>
                        <a:pt x="226" y="57"/>
                      </a:cubicBezTo>
                      <a:cubicBezTo>
                        <a:pt x="184" y="54"/>
                        <a:pt x="128" y="79"/>
                        <a:pt x="93" y="102"/>
                      </a:cubicBezTo>
                      <a:cubicBezTo>
                        <a:pt x="112" y="103"/>
                        <a:pt x="112" y="111"/>
                        <a:pt x="124" y="115"/>
                      </a:cubicBezTo>
                      <a:cubicBezTo>
                        <a:pt x="82" y="146"/>
                        <a:pt x="40" y="207"/>
                        <a:pt x="27" y="254"/>
                      </a:cubicBezTo>
                      <a:cubicBezTo>
                        <a:pt x="19" y="285"/>
                        <a:pt x="30" y="314"/>
                        <a:pt x="27" y="343"/>
                      </a:cubicBezTo>
                      <a:cubicBezTo>
                        <a:pt x="24" y="372"/>
                        <a:pt x="13" y="386"/>
                        <a:pt x="0" y="414"/>
                      </a:cubicBezTo>
                      <a:cubicBezTo>
                        <a:pt x="15" y="407"/>
                        <a:pt x="37" y="408"/>
                        <a:pt x="50" y="403"/>
                      </a:cubicBezTo>
                      <a:cubicBezTo>
                        <a:pt x="46" y="424"/>
                        <a:pt x="61" y="429"/>
                        <a:pt x="65" y="441"/>
                      </a:cubicBezTo>
                    </a:path>
                  </a:pathLst>
                </a:custGeom>
                <a:noFill/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90" name="Freeform 444"/>
                <p:cNvSpPr>
                  <a:spLocks/>
                </p:cNvSpPr>
                <p:nvPr/>
              </p:nvSpPr>
              <p:spPr bwMode="gray">
                <a:xfrm>
                  <a:off x="7233798" y="3867231"/>
                  <a:ext cx="115267" cy="324616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8" y="130"/>
                    </a:cxn>
                    <a:cxn ang="0">
                      <a:pos x="44" y="243"/>
                    </a:cxn>
                    <a:cxn ang="0">
                      <a:pos x="139" y="441"/>
                    </a:cxn>
                    <a:cxn ang="0">
                      <a:pos x="98" y="202"/>
                    </a:cxn>
                    <a:cxn ang="0">
                      <a:pos x="26" y="0"/>
                    </a:cxn>
                  </a:cxnLst>
                  <a:rect l="0" t="0" r="r" b="b"/>
                  <a:pathLst>
                    <a:path w="157" h="441">
                      <a:moveTo>
                        <a:pt x="0" y="0"/>
                      </a:moveTo>
                      <a:cubicBezTo>
                        <a:pt x="25" y="31"/>
                        <a:pt x="10" y="89"/>
                        <a:pt x="8" y="130"/>
                      </a:cubicBezTo>
                      <a:cubicBezTo>
                        <a:pt x="5" y="187"/>
                        <a:pt x="14" y="198"/>
                        <a:pt x="44" y="243"/>
                      </a:cubicBezTo>
                      <a:cubicBezTo>
                        <a:pt x="84" y="302"/>
                        <a:pt x="97" y="379"/>
                        <a:pt x="139" y="441"/>
                      </a:cubicBezTo>
                      <a:cubicBezTo>
                        <a:pt x="157" y="374"/>
                        <a:pt x="122" y="264"/>
                        <a:pt x="98" y="202"/>
                      </a:cubicBezTo>
                      <a:cubicBezTo>
                        <a:pt x="84" y="166"/>
                        <a:pt x="57" y="9"/>
                        <a:pt x="26" y="0"/>
                      </a:cubicBezTo>
                    </a:path>
                  </a:pathLst>
                </a:custGeom>
                <a:solidFill>
                  <a:srgbClr val="99999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91" name="Freeform 445"/>
                <p:cNvSpPr>
                  <a:spLocks/>
                </p:cNvSpPr>
                <p:nvPr/>
              </p:nvSpPr>
              <p:spPr bwMode="gray">
                <a:xfrm>
                  <a:off x="6998902" y="2492129"/>
                  <a:ext cx="172900" cy="1040516"/>
                </a:xfrm>
                <a:custGeom>
                  <a:avLst/>
                  <a:gdLst/>
                  <a:ahLst/>
                  <a:cxnLst>
                    <a:cxn ang="0">
                      <a:pos x="182" y="6"/>
                    </a:cxn>
                    <a:cxn ang="0">
                      <a:pos x="153" y="153"/>
                    </a:cxn>
                    <a:cxn ang="0">
                      <a:pos x="113" y="319"/>
                    </a:cxn>
                    <a:cxn ang="0">
                      <a:pos x="12" y="625"/>
                    </a:cxn>
                    <a:cxn ang="0">
                      <a:pos x="13" y="772"/>
                    </a:cxn>
                    <a:cxn ang="0">
                      <a:pos x="61" y="907"/>
                    </a:cxn>
                    <a:cxn ang="0">
                      <a:pos x="159" y="1190"/>
                    </a:cxn>
                    <a:cxn ang="0">
                      <a:pos x="172" y="1414"/>
                    </a:cxn>
                    <a:cxn ang="0">
                      <a:pos x="221" y="1268"/>
                    </a:cxn>
                    <a:cxn ang="0">
                      <a:pos x="215" y="1104"/>
                    </a:cxn>
                    <a:cxn ang="0">
                      <a:pos x="186" y="1037"/>
                    </a:cxn>
                    <a:cxn ang="0">
                      <a:pos x="171" y="962"/>
                    </a:cxn>
                    <a:cxn ang="0">
                      <a:pos x="109" y="812"/>
                    </a:cxn>
                    <a:cxn ang="0">
                      <a:pos x="58" y="678"/>
                    </a:cxn>
                    <a:cxn ang="0">
                      <a:pos x="74" y="514"/>
                    </a:cxn>
                    <a:cxn ang="0">
                      <a:pos x="140" y="392"/>
                    </a:cxn>
                    <a:cxn ang="0">
                      <a:pos x="182" y="231"/>
                    </a:cxn>
                    <a:cxn ang="0">
                      <a:pos x="179" y="0"/>
                    </a:cxn>
                  </a:cxnLst>
                  <a:rect l="0" t="0" r="r" b="b"/>
                  <a:pathLst>
                    <a:path w="235" h="1414">
                      <a:moveTo>
                        <a:pt x="182" y="6"/>
                      </a:moveTo>
                      <a:cubicBezTo>
                        <a:pt x="187" y="55"/>
                        <a:pt x="160" y="106"/>
                        <a:pt x="153" y="153"/>
                      </a:cubicBezTo>
                      <a:cubicBezTo>
                        <a:pt x="143" y="209"/>
                        <a:pt x="124" y="263"/>
                        <a:pt x="113" y="319"/>
                      </a:cubicBezTo>
                      <a:cubicBezTo>
                        <a:pt x="94" y="425"/>
                        <a:pt x="35" y="523"/>
                        <a:pt x="12" y="625"/>
                      </a:cubicBezTo>
                      <a:cubicBezTo>
                        <a:pt x="0" y="678"/>
                        <a:pt x="0" y="720"/>
                        <a:pt x="13" y="772"/>
                      </a:cubicBezTo>
                      <a:cubicBezTo>
                        <a:pt x="24" y="821"/>
                        <a:pt x="44" y="860"/>
                        <a:pt x="61" y="907"/>
                      </a:cubicBezTo>
                      <a:cubicBezTo>
                        <a:pt x="92" y="1001"/>
                        <a:pt x="129" y="1095"/>
                        <a:pt x="159" y="1190"/>
                      </a:cubicBezTo>
                      <a:cubicBezTo>
                        <a:pt x="180" y="1256"/>
                        <a:pt x="174" y="1340"/>
                        <a:pt x="172" y="1414"/>
                      </a:cubicBezTo>
                      <a:cubicBezTo>
                        <a:pt x="227" y="1400"/>
                        <a:pt x="221" y="1312"/>
                        <a:pt x="221" y="1268"/>
                      </a:cubicBezTo>
                      <a:cubicBezTo>
                        <a:pt x="221" y="1215"/>
                        <a:pt x="235" y="1154"/>
                        <a:pt x="215" y="1104"/>
                      </a:cubicBezTo>
                      <a:cubicBezTo>
                        <a:pt x="207" y="1083"/>
                        <a:pt x="193" y="1060"/>
                        <a:pt x="186" y="1037"/>
                      </a:cubicBezTo>
                      <a:cubicBezTo>
                        <a:pt x="178" y="1012"/>
                        <a:pt x="179" y="986"/>
                        <a:pt x="171" y="962"/>
                      </a:cubicBezTo>
                      <a:cubicBezTo>
                        <a:pt x="154" y="910"/>
                        <a:pt x="129" y="862"/>
                        <a:pt x="109" y="812"/>
                      </a:cubicBezTo>
                      <a:cubicBezTo>
                        <a:pt x="92" y="767"/>
                        <a:pt x="67" y="724"/>
                        <a:pt x="58" y="678"/>
                      </a:cubicBezTo>
                      <a:cubicBezTo>
                        <a:pt x="47" y="622"/>
                        <a:pt x="65" y="567"/>
                        <a:pt x="74" y="514"/>
                      </a:cubicBezTo>
                      <a:cubicBezTo>
                        <a:pt x="82" y="461"/>
                        <a:pt x="109" y="435"/>
                        <a:pt x="140" y="392"/>
                      </a:cubicBezTo>
                      <a:cubicBezTo>
                        <a:pt x="173" y="346"/>
                        <a:pt x="182" y="291"/>
                        <a:pt x="182" y="231"/>
                      </a:cubicBezTo>
                      <a:cubicBezTo>
                        <a:pt x="182" y="161"/>
                        <a:pt x="203" y="66"/>
                        <a:pt x="179" y="0"/>
                      </a:cubicBezTo>
                    </a:path>
                  </a:pathLst>
                </a:custGeom>
                <a:solidFill>
                  <a:srgbClr val="99999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92" name="Freeform 446"/>
                <p:cNvSpPr>
                  <a:spLocks/>
                </p:cNvSpPr>
                <p:nvPr/>
              </p:nvSpPr>
              <p:spPr bwMode="gray">
                <a:xfrm>
                  <a:off x="7054978" y="2357236"/>
                  <a:ext cx="87541" cy="118694"/>
                </a:xfrm>
                <a:custGeom>
                  <a:avLst/>
                  <a:gdLst/>
                  <a:ahLst/>
                  <a:cxnLst>
                    <a:cxn ang="0">
                      <a:pos x="2" y="150"/>
                    </a:cxn>
                    <a:cxn ang="0">
                      <a:pos x="74" y="85"/>
                    </a:cxn>
                    <a:cxn ang="0">
                      <a:pos x="0" y="0"/>
                    </a:cxn>
                    <a:cxn ang="0">
                      <a:pos x="58" y="46"/>
                    </a:cxn>
                    <a:cxn ang="0">
                      <a:pos x="119" y="97"/>
                    </a:cxn>
                    <a:cxn ang="0">
                      <a:pos x="5" y="156"/>
                    </a:cxn>
                  </a:cxnLst>
                  <a:rect l="0" t="0" r="r" b="b"/>
                  <a:pathLst>
                    <a:path w="119" h="161">
                      <a:moveTo>
                        <a:pt x="2" y="150"/>
                      </a:moveTo>
                      <a:cubicBezTo>
                        <a:pt x="25" y="129"/>
                        <a:pt x="51" y="107"/>
                        <a:pt x="74" y="85"/>
                      </a:cubicBezTo>
                      <a:cubicBezTo>
                        <a:pt x="44" y="60"/>
                        <a:pt x="26" y="28"/>
                        <a:pt x="0" y="0"/>
                      </a:cubicBezTo>
                      <a:cubicBezTo>
                        <a:pt x="23" y="7"/>
                        <a:pt x="42" y="29"/>
                        <a:pt x="58" y="46"/>
                      </a:cubicBezTo>
                      <a:cubicBezTo>
                        <a:pt x="77" y="65"/>
                        <a:pt x="99" y="78"/>
                        <a:pt x="119" y="97"/>
                      </a:cubicBezTo>
                      <a:cubicBezTo>
                        <a:pt x="84" y="117"/>
                        <a:pt x="50" y="161"/>
                        <a:pt x="5" y="156"/>
                      </a:cubicBezTo>
                    </a:path>
                  </a:pathLst>
                </a:custGeom>
                <a:solidFill>
                  <a:srgbClr val="99999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93" name="Freeform 452"/>
                <p:cNvSpPr>
                  <a:spLocks/>
                </p:cNvSpPr>
                <p:nvPr/>
              </p:nvSpPr>
              <p:spPr bwMode="gray">
                <a:xfrm>
                  <a:off x="7238159" y="2486833"/>
                  <a:ext cx="69783" cy="374461"/>
                </a:xfrm>
                <a:custGeom>
                  <a:avLst/>
                  <a:gdLst/>
                  <a:ahLst/>
                  <a:cxnLst>
                    <a:cxn ang="0">
                      <a:pos x="60" y="135"/>
                    </a:cxn>
                    <a:cxn ang="0">
                      <a:pos x="36" y="251"/>
                    </a:cxn>
                    <a:cxn ang="0">
                      <a:pos x="26" y="385"/>
                    </a:cxn>
                    <a:cxn ang="0">
                      <a:pos x="17" y="509"/>
                    </a:cxn>
                    <a:cxn ang="0">
                      <a:pos x="17" y="411"/>
                    </a:cxn>
                    <a:cxn ang="0">
                      <a:pos x="27" y="301"/>
                    </a:cxn>
                    <a:cxn ang="0">
                      <a:pos x="36" y="183"/>
                    </a:cxn>
                    <a:cxn ang="0">
                      <a:pos x="95" y="0"/>
                    </a:cxn>
                    <a:cxn ang="0">
                      <a:pos x="60" y="135"/>
                    </a:cxn>
                  </a:cxnLst>
                  <a:rect l="0" t="0" r="r" b="b"/>
                  <a:pathLst>
                    <a:path w="95" h="509">
                      <a:moveTo>
                        <a:pt x="60" y="135"/>
                      </a:moveTo>
                      <a:cubicBezTo>
                        <a:pt x="52" y="173"/>
                        <a:pt x="44" y="211"/>
                        <a:pt x="36" y="251"/>
                      </a:cubicBezTo>
                      <a:cubicBezTo>
                        <a:pt x="28" y="296"/>
                        <a:pt x="30" y="339"/>
                        <a:pt x="26" y="385"/>
                      </a:cubicBezTo>
                      <a:cubicBezTo>
                        <a:pt x="22" y="420"/>
                        <a:pt x="29" y="479"/>
                        <a:pt x="17" y="509"/>
                      </a:cubicBezTo>
                      <a:cubicBezTo>
                        <a:pt x="0" y="486"/>
                        <a:pt x="13" y="438"/>
                        <a:pt x="17" y="411"/>
                      </a:cubicBezTo>
                      <a:cubicBezTo>
                        <a:pt x="23" y="375"/>
                        <a:pt x="22" y="337"/>
                        <a:pt x="27" y="301"/>
                      </a:cubicBezTo>
                      <a:cubicBezTo>
                        <a:pt x="33" y="263"/>
                        <a:pt x="36" y="224"/>
                        <a:pt x="36" y="183"/>
                      </a:cubicBezTo>
                      <a:cubicBezTo>
                        <a:pt x="36" y="118"/>
                        <a:pt x="59" y="51"/>
                        <a:pt x="95" y="0"/>
                      </a:cubicBezTo>
                      <a:cubicBezTo>
                        <a:pt x="91" y="46"/>
                        <a:pt x="69" y="89"/>
                        <a:pt x="60" y="135"/>
                      </a:cubicBezTo>
                      <a:close/>
                    </a:path>
                  </a:pathLst>
                </a:custGeom>
                <a:solidFill>
                  <a:srgbClr val="99999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94" name="Freeform 454"/>
                <p:cNvSpPr>
                  <a:spLocks/>
                </p:cNvSpPr>
                <p:nvPr/>
              </p:nvSpPr>
              <p:spPr bwMode="gray">
                <a:xfrm>
                  <a:off x="7058405" y="2467830"/>
                  <a:ext cx="76637" cy="29907"/>
                </a:xfrm>
                <a:custGeom>
                  <a:avLst/>
                  <a:gdLst/>
                  <a:ahLst/>
                  <a:cxnLst>
                    <a:cxn ang="0">
                      <a:pos x="6" y="6"/>
                    </a:cxn>
                    <a:cxn ang="0">
                      <a:pos x="104" y="38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04" h="41">
                      <a:moveTo>
                        <a:pt x="6" y="6"/>
                      </a:moveTo>
                      <a:cubicBezTo>
                        <a:pt x="44" y="26"/>
                        <a:pt x="69" y="33"/>
                        <a:pt x="104" y="38"/>
                      </a:cubicBezTo>
                      <a:cubicBezTo>
                        <a:pt x="74" y="41"/>
                        <a:pt x="9" y="19"/>
                        <a:pt x="0" y="0"/>
                      </a:cubicBezTo>
                    </a:path>
                  </a:pathLst>
                </a:custGeom>
                <a:solidFill>
                  <a:srgbClr val="151B1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95" name="Freeform 455"/>
                <p:cNvSpPr>
                  <a:spLocks/>
                </p:cNvSpPr>
                <p:nvPr/>
              </p:nvSpPr>
              <p:spPr bwMode="gray">
                <a:xfrm>
                  <a:off x="6433160" y="2396178"/>
                  <a:ext cx="177262" cy="676336"/>
                </a:xfrm>
                <a:custGeom>
                  <a:avLst/>
                  <a:gdLst/>
                  <a:ahLst/>
                  <a:cxnLst>
                    <a:cxn ang="0">
                      <a:pos x="113" y="15"/>
                    </a:cxn>
                    <a:cxn ang="0">
                      <a:pos x="54" y="101"/>
                    </a:cxn>
                    <a:cxn ang="0">
                      <a:pos x="94" y="129"/>
                    </a:cxn>
                    <a:cxn ang="0">
                      <a:pos x="129" y="171"/>
                    </a:cxn>
                    <a:cxn ang="0">
                      <a:pos x="22" y="186"/>
                    </a:cxn>
                    <a:cxn ang="0">
                      <a:pos x="54" y="374"/>
                    </a:cxn>
                    <a:cxn ang="0">
                      <a:pos x="106" y="540"/>
                    </a:cxn>
                    <a:cxn ang="0">
                      <a:pos x="187" y="685"/>
                    </a:cxn>
                    <a:cxn ang="0">
                      <a:pos x="236" y="831"/>
                    </a:cxn>
                    <a:cxn ang="0">
                      <a:pos x="211" y="919"/>
                    </a:cxn>
                    <a:cxn ang="0">
                      <a:pos x="193" y="763"/>
                    </a:cxn>
                    <a:cxn ang="0">
                      <a:pos x="136" y="634"/>
                    </a:cxn>
                    <a:cxn ang="0">
                      <a:pos x="41" y="355"/>
                    </a:cxn>
                    <a:cxn ang="0">
                      <a:pos x="9" y="166"/>
                    </a:cxn>
                    <a:cxn ang="0">
                      <a:pos x="106" y="175"/>
                    </a:cxn>
                    <a:cxn ang="0">
                      <a:pos x="24" y="100"/>
                    </a:cxn>
                    <a:cxn ang="0">
                      <a:pos x="112" y="0"/>
                    </a:cxn>
                    <a:cxn ang="0">
                      <a:pos x="54" y="110"/>
                    </a:cxn>
                  </a:cxnLst>
                  <a:rect l="0" t="0" r="r" b="b"/>
                  <a:pathLst>
                    <a:path w="241" h="919">
                      <a:moveTo>
                        <a:pt x="113" y="15"/>
                      </a:moveTo>
                      <a:cubicBezTo>
                        <a:pt x="116" y="41"/>
                        <a:pt x="76" y="89"/>
                        <a:pt x="54" y="101"/>
                      </a:cubicBezTo>
                      <a:cubicBezTo>
                        <a:pt x="60" y="116"/>
                        <a:pt x="81" y="117"/>
                        <a:pt x="94" y="129"/>
                      </a:cubicBezTo>
                      <a:cubicBezTo>
                        <a:pt x="108" y="141"/>
                        <a:pt x="113" y="162"/>
                        <a:pt x="129" y="171"/>
                      </a:cubicBezTo>
                      <a:cubicBezTo>
                        <a:pt x="96" y="186"/>
                        <a:pt x="58" y="182"/>
                        <a:pt x="22" y="186"/>
                      </a:cubicBezTo>
                      <a:cubicBezTo>
                        <a:pt x="18" y="259"/>
                        <a:pt x="37" y="306"/>
                        <a:pt x="54" y="374"/>
                      </a:cubicBezTo>
                      <a:cubicBezTo>
                        <a:pt x="68" y="431"/>
                        <a:pt x="81" y="488"/>
                        <a:pt x="106" y="540"/>
                      </a:cubicBezTo>
                      <a:cubicBezTo>
                        <a:pt x="130" y="590"/>
                        <a:pt x="166" y="632"/>
                        <a:pt x="187" y="685"/>
                      </a:cubicBezTo>
                      <a:cubicBezTo>
                        <a:pt x="205" y="732"/>
                        <a:pt x="228" y="780"/>
                        <a:pt x="236" y="831"/>
                      </a:cubicBezTo>
                      <a:cubicBezTo>
                        <a:pt x="241" y="862"/>
                        <a:pt x="237" y="899"/>
                        <a:pt x="211" y="919"/>
                      </a:cubicBezTo>
                      <a:cubicBezTo>
                        <a:pt x="207" y="860"/>
                        <a:pt x="214" y="817"/>
                        <a:pt x="193" y="763"/>
                      </a:cubicBezTo>
                      <a:cubicBezTo>
                        <a:pt x="177" y="721"/>
                        <a:pt x="155" y="678"/>
                        <a:pt x="136" y="634"/>
                      </a:cubicBezTo>
                      <a:cubicBezTo>
                        <a:pt x="98" y="543"/>
                        <a:pt x="56" y="451"/>
                        <a:pt x="41" y="355"/>
                      </a:cubicBezTo>
                      <a:cubicBezTo>
                        <a:pt x="31" y="297"/>
                        <a:pt x="0" y="226"/>
                        <a:pt x="9" y="166"/>
                      </a:cubicBezTo>
                      <a:cubicBezTo>
                        <a:pt x="42" y="164"/>
                        <a:pt x="75" y="180"/>
                        <a:pt x="106" y="175"/>
                      </a:cubicBezTo>
                      <a:cubicBezTo>
                        <a:pt x="99" y="141"/>
                        <a:pt x="25" y="130"/>
                        <a:pt x="24" y="100"/>
                      </a:cubicBezTo>
                      <a:cubicBezTo>
                        <a:pt x="24" y="77"/>
                        <a:pt x="91" y="6"/>
                        <a:pt x="112" y="0"/>
                      </a:cubicBezTo>
                      <a:cubicBezTo>
                        <a:pt x="98" y="36"/>
                        <a:pt x="69" y="74"/>
                        <a:pt x="54" y="110"/>
                      </a:cubicBezTo>
                    </a:path>
                  </a:pathLst>
                </a:custGeom>
                <a:solidFill>
                  <a:srgbClr val="99999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96" name="Freeform 456"/>
                <p:cNvSpPr>
                  <a:spLocks/>
                </p:cNvSpPr>
                <p:nvPr/>
              </p:nvSpPr>
              <p:spPr bwMode="gray">
                <a:xfrm>
                  <a:off x="6162128" y="2513314"/>
                  <a:ext cx="292840" cy="1079458"/>
                </a:xfrm>
                <a:custGeom>
                  <a:avLst/>
                  <a:gdLst/>
                  <a:ahLst/>
                  <a:cxnLst>
                    <a:cxn ang="0">
                      <a:pos x="246" y="894"/>
                    </a:cxn>
                    <a:cxn ang="0">
                      <a:pos x="78" y="946"/>
                    </a:cxn>
                    <a:cxn ang="0">
                      <a:pos x="44" y="1005"/>
                    </a:cxn>
                    <a:cxn ang="0">
                      <a:pos x="124" y="1031"/>
                    </a:cxn>
                    <a:cxn ang="0">
                      <a:pos x="74" y="973"/>
                    </a:cxn>
                    <a:cxn ang="0">
                      <a:pos x="128" y="983"/>
                    </a:cxn>
                    <a:cxn ang="0">
                      <a:pos x="184" y="965"/>
                    </a:cxn>
                    <a:cxn ang="0">
                      <a:pos x="191" y="998"/>
                    </a:cxn>
                    <a:cxn ang="0">
                      <a:pos x="236" y="992"/>
                    </a:cxn>
                    <a:cxn ang="0">
                      <a:pos x="234" y="1083"/>
                    </a:cxn>
                    <a:cxn ang="0">
                      <a:pos x="262" y="1168"/>
                    </a:cxn>
                    <a:cxn ang="0">
                      <a:pos x="203" y="1242"/>
                    </a:cxn>
                    <a:cxn ang="0">
                      <a:pos x="268" y="1259"/>
                    </a:cxn>
                    <a:cxn ang="0">
                      <a:pos x="295" y="1316"/>
                    </a:cxn>
                    <a:cxn ang="0">
                      <a:pos x="291" y="1359"/>
                    </a:cxn>
                    <a:cxn ang="0">
                      <a:pos x="304" y="1439"/>
                    </a:cxn>
                    <a:cxn ang="0">
                      <a:pos x="386" y="1432"/>
                    </a:cxn>
                    <a:cxn ang="0">
                      <a:pos x="392" y="1361"/>
                    </a:cxn>
                    <a:cxn ang="0">
                      <a:pos x="302" y="1190"/>
                    </a:cxn>
                    <a:cxn ang="0">
                      <a:pos x="262" y="988"/>
                    </a:cxn>
                    <a:cxn ang="0">
                      <a:pos x="259" y="766"/>
                    </a:cxn>
                    <a:cxn ang="0">
                      <a:pos x="239" y="541"/>
                    </a:cxn>
                    <a:cxn ang="0">
                      <a:pos x="239" y="381"/>
                    </a:cxn>
                    <a:cxn ang="0">
                      <a:pos x="204" y="267"/>
                    </a:cxn>
                    <a:cxn ang="0">
                      <a:pos x="161" y="146"/>
                    </a:cxn>
                    <a:cxn ang="0">
                      <a:pos x="145" y="0"/>
                    </a:cxn>
                    <a:cxn ang="0">
                      <a:pos x="170" y="245"/>
                    </a:cxn>
                    <a:cxn ang="0">
                      <a:pos x="193" y="375"/>
                    </a:cxn>
                    <a:cxn ang="0">
                      <a:pos x="209" y="476"/>
                    </a:cxn>
                    <a:cxn ang="0">
                      <a:pos x="184" y="477"/>
                    </a:cxn>
                    <a:cxn ang="0">
                      <a:pos x="217" y="583"/>
                    </a:cxn>
                    <a:cxn ang="0">
                      <a:pos x="226" y="708"/>
                    </a:cxn>
                    <a:cxn ang="0">
                      <a:pos x="249" y="819"/>
                    </a:cxn>
                    <a:cxn ang="0">
                      <a:pos x="252" y="903"/>
                    </a:cxn>
                  </a:cxnLst>
                  <a:rect l="0" t="0" r="r" b="b"/>
                  <a:pathLst>
                    <a:path w="398" h="1467">
                      <a:moveTo>
                        <a:pt x="246" y="894"/>
                      </a:moveTo>
                      <a:cubicBezTo>
                        <a:pt x="249" y="955"/>
                        <a:pt x="115" y="932"/>
                        <a:pt x="78" y="946"/>
                      </a:cubicBezTo>
                      <a:cubicBezTo>
                        <a:pt x="50" y="957"/>
                        <a:pt x="0" y="986"/>
                        <a:pt x="44" y="1005"/>
                      </a:cubicBezTo>
                      <a:cubicBezTo>
                        <a:pt x="71" y="1016"/>
                        <a:pt x="102" y="1008"/>
                        <a:pt x="124" y="1031"/>
                      </a:cubicBezTo>
                      <a:cubicBezTo>
                        <a:pt x="119" y="1009"/>
                        <a:pt x="55" y="994"/>
                        <a:pt x="74" y="973"/>
                      </a:cubicBezTo>
                      <a:cubicBezTo>
                        <a:pt x="89" y="955"/>
                        <a:pt x="115" y="980"/>
                        <a:pt x="128" y="983"/>
                      </a:cubicBezTo>
                      <a:cubicBezTo>
                        <a:pt x="152" y="987"/>
                        <a:pt x="163" y="976"/>
                        <a:pt x="184" y="965"/>
                      </a:cubicBezTo>
                      <a:cubicBezTo>
                        <a:pt x="191" y="973"/>
                        <a:pt x="192" y="986"/>
                        <a:pt x="191" y="998"/>
                      </a:cubicBezTo>
                      <a:cubicBezTo>
                        <a:pt x="205" y="995"/>
                        <a:pt x="219" y="989"/>
                        <a:pt x="236" y="992"/>
                      </a:cubicBezTo>
                      <a:cubicBezTo>
                        <a:pt x="238" y="1036"/>
                        <a:pt x="205" y="1048"/>
                        <a:pt x="234" y="1083"/>
                      </a:cubicBezTo>
                      <a:cubicBezTo>
                        <a:pt x="257" y="1110"/>
                        <a:pt x="271" y="1125"/>
                        <a:pt x="262" y="1168"/>
                      </a:cubicBezTo>
                      <a:cubicBezTo>
                        <a:pt x="254" y="1208"/>
                        <a:pt x="214" y="1200"/>
                        <a:pt x="203" y="1242"/>
                      </a:cubicBezTo>
                      <a:cubicBezTo>
                        <a:pt x="188" y="1298"/>
                        <a:pt x="235" y="1264"/>
                        <a:pt x="268" y="1259"/>
                      </a:cubicBezTo>
                      <a:cubicBezTo>
                        <a:pt x="271" y="1285"/>
                        <a:pt x="284" y="1295"/>
                        <a:pt x="295" y="1316"/>
                      </a:cubicBezTo>
                      <a:cubicBezTo>
                        <a:pt x="309" y="1343"/>
                        <a:pt x="302" y="1341"/>
                        <a:pt x="291" y="1359"/>
                      </a:cubicBezTo>
                      <a:cubicBezTo>
                        <a:pt x="278" y="1381"/>
                        <a:pt x="247" y="1439"/>
                        <a:pt x="304" y="1439"/>
                      </a:cubicBezTo>
                      <a:cubicBezTo>
                        <a:pt x="319" y="1467"/>
                        <a:pt x="369" y="1455"/>
                        <a:pt x="386" y="1432"/>
                      </a:cubicBezTo>
                      <a:cubicBezTo>
                        <a:pt x="398" y="1416"/>
                        <a:pt x="394" y="1386"/>
                        <a:pt x="392" y="1361"/>
                      </a:cubicBezTo>
                      <a:cubicBezTo>
                        <a:pt x="338" y="1323"/>
                        <a:pt x="318" y="1253"/>
                        <a:pt x="302" y="1190"/>
                      </a:cubicBezTo>
                      <a:cubicBezTo>
                        <a:pt x="285" y="1123"/>
                        <a:pt x="264" y="1060"/>
                        <a:pt x="262" y="988"/>
                      </a:cubicBezTo>
                      <a:cubicBezTo>
                        <a:pt x="261" y="914"/>
                        <a:pt x="266" y="842"/>
                        <a:pt x="259" y="766"/>
                      </a:cubicBezTo>
                      <a:cubicBezTo>
                        <a:pt x="252" y="690"/>
                        <a:pt x="239" y="619"/>
                        <a:pt x="239" y="541"/>
                      </a:cubicBezTo>
                      <a:cubicBezTo>
                        <a:pt x="239" y="491"/>
                        <a:pt x="249" y="430"/>
                        <a:pt x="239" y="381"/>
                      </a:cubicBezTo>
                      <a:cubicBezTo>
                        <a:pt x="232" y="345"/>
                        <a:pt x="215" y="303"/>
                        <a:pt x="204" y="267"/>
                      </a:cubicBezTo>
                      <a:cubicBezTo>
                        <a:pt x="191" y="227"/>
                        <a:pt x="171" y="188"/>
                        <a:pt x="161" y="146"/>
                      </a:cubicBezTo>
                      <a:cubicBezTo>
                        <a:pt x="151" y="101"/>
                        <a:pt x="158" y="42"/>
                        <a:pt x="145" y="0"/>
                      </a:cubicBezTo>
                      <a:cubicBezTo>
                        <a:pt x="136" y="85"/>
                        <a:pt x="159" y="162"/>
                        <a:pt x="170" y="245"/>
                      </a:cubicBezTo>
                      <a:cubicBezTo>
                        <a:pt x="176" y="290"/>
                        <a:pt x="181" y="331"/>
                        <a:pt x="193" y="375"/>
                      </a:cubicBezTo>
                      <a:cubicBezTo>
                        <a:pt x="200" y="404"/>
                        <a:pt x="215" y="446"/>
                        <a:pt x="209" y="476"/>
                      </a:cubicBezTo>
                      <a:cubicBezTo>
                        <a:pt x="202" y="474"/>
                        <a:pt x="192" y="478"/>
                        <a:pt x="184" y="477"/>
                      </a:cubicBezTo>
                      <a:cubicBezTo>
                        <a:pt x="178" y="514"/>
                        <a:pt x="208" y="549"/>
                        <a:pt x="217" y="583"/>
                      </a:cubicBezTo>
                      <a:cubicBezTo>
                        <a:pt x="229" y="624"/>
                        <a:pt x="224" y="664"/>
                        <a:pt x="226" y="708"/>
                      </a:cubicBezTo>
                      <a:cubicBezTo>
                        <a:pt x="228" y="743"/>
                        <a:pt x="257" y="784"/>
                        <a:pt x="249" y="819"/>
                      </a:cubicBezTo>
                      <a:cubicBezTo>
                        <a:pt x="241" y="858"/>
                        <a:pt x="217" y="866"/>
                        <a:pt x="252" y="903"/>
                      </a:cubicBezTo>
                    </a:path>
                  </a:pathLst>
                </a:custGeom>
                <a:solidFill>
                  <a:srgbClr val="99999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97" name="Freeform 458"/>
                <p:cNvSpPr>
                  <a:spLocks/>
                </p:cNvSpPr>
                <p:nvPr/>
              </p:nvSpPr>
              <p:spPr bwMode="gray">
                <a:xfrm>
                  <a:off x="6186427" y="3125473"/>
                  <a:ext cx="137697" cy="42680"/>
                </a:xfrm>
                <a:custGeom>
                  <a:avLst/>
                  <a:gdLst/>
                  <a:ahLst/>
                  <a:cxnLst>
                    <a:cxn ang="0">
                      <a:pos x="174" y="58"/>
                    </a:cxn>
                    <a:cxn ang="0">
                      <a:pos x="105" y="26"/>
                    </a:cxn>
                    <a:cxn ang="0">
                      <a:pos x="8" y="35"/>
                    </a:cxn>
                    <a:cxn ang="0">
                      <a:pos x="108" y="6"/>
                    </a:cxn>
                    <a:cxn ang="0">
                      <a:pos x="187" y="55"/>
                    </a:cxn>
                  </a:cxnLst>
                  <a:rect l="0" t="0" r="r" b="b"/>
                  <a:pathLst>
                    <a:path w="187" h="58">
                      <a:moveTo>
                        <a:pt x="174" y="58"/>
                      </a:moveTo>
                      <a:cubicBezTo>
                        <a:pt x="176" y="32"/>
                        <a:pt x="125" y="23"/>
                        <a:pt x="105" y="26"/>
                      </a:cubicBezTo>
                      <a:cubicBezTo>
                        <a:pt x="70" y="30"/>
                        <a:pt x="46" y="44"/>
                        <a:pt x="8" y="35"/>
                      </a:cubicBezTo>
                      <a:cubicBezTo>
                        <a:pt x="0" y="0"/>
                        <a:pt x="85" y="2"/>
                        <a:pt x="108" y="6"/>
                      </a:cubicBezTo>
                      <a:cubicBezTo>
                        <a:pt x="143" y="13"/>
                        <a:pt x="162" y="33"/>
                        <a:pt x="187" y="55"/>
                      </a:cubicBezTo>
                    </a:path>
                  </a:pathLst>
                </a:custGeom>
                <a:solidFill>
                  <a:srgbClr val="99999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98" name="Freeform 461"/>
                <p:cNvSpPr>
                  <a:spLocks/>
                </p:cNvSpPr>
                <p:nvPr/>
              </p:nvSpPr>
              <p:spPr bwMode="gray">
                <a:xfrm>
                  <a:off x="6558708" y="2407393"/>
                  <a:ext cx="43614" cy="175081"/>
                </a:xfrm>
                <a:custGeom>
                  <a:avLst/>
                  <a:gdLst/>
                  <a:ahLst/>
                  <a:cxnLst>
                    <a:cxn ang="0">
                      <a:pos x="59" y="39"/>
                    </a:cxn>
                    <a:cxn ang="0">
                      <a:pos x="45" y="238"/>
                    </a:cxn>
                    <a:cxn ang="0">
                      <a:pos x="56" y="0"/>
                    </a:cxn>
                  </a:cxnLst>
                  <a:rect l="0" t="0" r="r" b="b"/>
                  <a:pathLst>
                    <a:path w="59" h="238">
                      <a:moveTo>
                        <a:pt x="59" y="39"/>
                      </a:moveTo>
                      <a:cubicBezTo>
                        <a:pt x="26" y="97"/>
                        <a:pt x="49" y="175"/>
                        <a:pt x="45" y="238"/>
                      </a:cubicBezTo>
                      <a:cubicBezTo>
                        <a:pt x="0" y="222"/>
                        <a:pt x="51" y="36"/>
                        <a:pt x="56" y="0"/>
                      </a:cubicBezTo>
                    </a:path>
                  </a:pathLst>
                </a:custGeom>
                <a:solidFill>
                  <a:srgbClr val="99999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99" name="Freeform 462"/>
                <p:cNvSpPr>
                  <a:spLocks/>
                </p:cNvSpPr>
                <p:nvPr/>
              </p:nvSpPr>
              <p:spPr bwMode="gray">
                <a:xfrm>
                  <a:off x="6736904" y="3212391"/>
                  <a:ext cx="170096" cy="269475"/>
                </a:xfrm>
                <a:custGeom>
                  <a:avLst/>
                  <a:gdLst/>
                  <a:ahLst/>
                  <a:cxnLst>
                    <a:cxn ang="0">
                      <a:pos x="39" y="283"/>
                    </a:cxn>
                    <a:cxn ang="0">
                      <a:pos x="84" y="296"/>
                    </a:cxn>
                    <a:cxn ang="0">
                      <a:pos x="208" y="215"/>
                    </a:cxn>
                    <a:cxn ang="0">
                      <a:pos x="212" y="0"/>
                    </a:cxn>
                    <a:cxn ang="0">
                      <a:pos x="228" y="156"/>
                    </a:cxn>
                    <a:cxn ang="0">
                      <a:pos x="228" y="244"/>
                    </a:cxn>
                    <a:cxn ang="0">
                      <a:pos x="186" y="300"/>
                    </a:cxn>
                    <a:cxn ang="0">
                      <a:pos x="74" y="333"/>
                    </a:cxn>
                    <a:cxn ang="0">
                      <a:pos x="0" y="245"/>
                    </a:cxn>
                    <a:cxn ang="0">
                      <a:pos x="42" y="289"/>
                    </a:cxn>
                  </a:cxnLst>
                  <a:rect l="0" t="0" r="r" b="b"/>
                  <a:pathLst>
                    <a:path w="231" h="366">
                      <a:moveTo>
                        <a:pt x="39" y="283"/>
                      </a:moveTo>
                      <a:cubicBezTo>
                        <a:pt x="54" y="286"/>
                        <a:pt x="69" y="293"/>
                        <a:pt x="84" y="296"/>
                      </a:cubicBezTo>
                      <a:cubicBezTo>
                        <a:pt x="128" y="362"/>
                        <a:pt x="201" y="258"/>
                        <a:pt x="208" y="215"/>
                      </a:cubicBezTo>
                      <a:cubicBezTo>
                        <a:pt x="220" y="144"/>
                        <a:pt x="222" y="70"/>
                        <a:pt x="212" y="0"/>
                      </a:cubicBezTo>
                      <a:cubicBezTo>
                        <a:pt x="212" y="56"/>
                        <a:pt x="228" y="99"/>
                        <a:pt x="228" y="156"/>
                      </a:cubicBezTo>
                      <a:cubicBezTo>
                        <a:pt x="228" y="184"/>
                        <a:pt x="231" y="215"/>
                        <a:pt x="228" y="244"/>
                      </a:cubicBezTo>
                      <a:cubicBezTo>
                        <a:pt x="225" y="279"/>
                        <a:pt x="213" y="284"/>
                        <a:pt x="186" y="300"/>
                      </a:cubicBezTo>
                      <a:cubicBezTo>
                        <a:pt x="143" y="326"/>
                        <a:pt x="122" y="366"/>
                        <a:pt x="74" y="333"/>
                      </a:cubicBezTo>
                      <a:cubicBezTo>
                        <a:pt x="52" y="317"/>
                        <a:pt x="1" y="270"/>
                        <a:pt x="0" y="245"/>
                      </a:cubicBezTo>
                      <a:cubicBezTo>
                        <a:pt x="11" y="262"/>
                        <a:pt x="34" y="272"/>
                        <a:pt x="42" y="289"/>
                      </a:cubicBezTo>
                    </a:path>
                  </a:pathLst>
                </a:custGeom>
                <a:solidFill>
                  <a:srgbClr val="808080">
                    <a:lumMod val="75000"/>
                  </a:srgb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00" name="Freeform 463"/>
                <p:cNvSpPr>
                  <a:spLocks/>
                </p:cNvSpPr>
                <p:nvPr/>
              </p:nvSpPr>
              <p:spPr bwMode="gray">
                <a:xfrm>
                  <a:off x="6734723" y="2534809"/>
                  <a:ext cx="33957" cy="136140"/>
                </a:xfrm>
                <a:custGeom>
                  <a:avLst/>
                  <a:gdLst/>
                  <a:ahLst/>
                  <a:cxnLst>
                    <a:cxn ang="0">
                      <a:pos x="35" y="10"/>
                    </a:cxn>
                    <a:cxn ang="0">
                      <a:pos x="3" y="185"/>
                    </a:cxn>
                    <a:cxn ang="0">
                      <a:pos x="22" y="95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46" h="185">
                      <a:moveTo>
                        <a:pt x="35" y="10"/>
                      </a:moveTo>
                      <a:cubicBezTo>
                        <a:pt x="46" y="74"/>
                        <a:pt x="39" y="134"/>
                        <a:pt x="3" y="185"/>
                      </a:cubicBezTo>
                      <a:cubicBezTo>
                        <a:pt x="0" y="153"/>
                        <a:pt x="21" y="128"/>
                        <a:pt x="22" y="95"/>
                      </a:cubicBezTo>
                      <a:cubicBezTo>
                        <a:pt x="24" y="72"/>
                        <a:pt x="13" y="7"/>
                        <a:pt x="32" y="0"/>
                      </a:cubicBezTo>
                    </a:path>
                  </a:pathLst>
                </a:custGeom>
                <a:solidFill>
                  <a:srgbClr val="808080">
                    <a:lumMod val="75000"/>
                  </a:srgb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01" name="Freeform 464"/>
                <p:cNvSpPr>
                  <a:spLocks/>
                </p:cNvSpPr>
                <p:nvPr/>
              </p:nvSpPr>
              <p:spPr bwMode="gray">
                <a:xfrm>
                  <a:off x="6714162" y="2443530"/>
                  <a:ext cx="34580" cy="69783"/>
                </a:xfrm>
                <a:custGeom>
                  <a:avLst/>
                  <a:gdLst/>
                  <a:ahLst/>
                  <a:cxnLst>
                    <a:cxn ang="0">
                      <a:pos x="41" y="0"/>
                    </a:cxn>
                    <a:cxn ang="0">
                      <a:pos x="42" y="50"/>
                    </a:cxn>
                    <a:cxn ang="0">
                      <a:pos x="30" y="95"/>
                    </a:cxn>
                    <a:cxn ang="0">
                      <a:pos x="2" y="85"/>
                    </a:cxn>
                    <a:cxn ang="0">
                      <a:pos x="37" y="0"/>
                    </a:cxn>
                  </a:cxnLst>
                  <a:rect l="0" t="0" r="r" b="b"/>
                  <a:pathLst>
                    <a:path w="47" h="95">
                      <a:moveTo>
                        <a:pt x="41" y="0"/>
                      </a:moveTo>
                      <a:cubicBezTo>
                        <a:pt x="42" y="16"/>
                        <a:pt x="47" y="34"/>
                        <a:pt x="42" y="50"/>
                      </a:cubicBezTo>
                      <a:cubicBezTo>
                        <a:pt x="35" y="67"/>
                        <a:pt x="8" y="78"/>
                        <a:pt x="30" y="95"/>
                      </a:cubicBezTo>
                      <a:cubicBezTo>
                        <a:pt x="20" y="93"/>
                        <a:pt x="11" y="89"/>
                        <a:pt x="2" y="85"/>
                      </a:cubicBezTo>
                      <a:cubicBezTo>
                        <a:pt x="0" y="56"/>
                        <a:pt x="43" y="38"/>
                        <a:pt x="37" y="0"/>
                      </a:cubicBezTo>
                    </a:path>
                  </a:pathLst>
                </a:custGeom>
                <a:solidFill>
                  <a:srgbClr val="808080">
                    <a:lumMod val="75000"/>
                  </a:srgb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02" name="Freeform 465"/>
                <p:cNvSpPr>
                  <a:spLocks/>
                </p:cNvSpPr>
                <p:nvPr/>
              </p:nvSpPr>
              <p:spPr bwMode="gray">
                <a:xfrm>
                  <a:off x="6775222" y="2443530"/>
                  <a:ext cx="58257" cy="77260"/>
                </a:xfrm>
                <a:custGeom>
                  <a:avLst/>
                  <a:gdLst/>
                  <a:ahLst/>
                  <a:cxnLst>
                    <a:cxn ang="0">
                      <a:pos x="59" y="10"/>
                    </a:cxn>
                    <a:cxn ang="0">
                      <a:pos x="52" y="59"/>
                    </a:cxn>
                    <a:cxn ang="0">
                      <a:pos x="0" y="89"/>
                    </a:cxn>
                    <a:cxn ang="0">
                      <a:pos x="58" y="65"/>
                    </a:cxn>
                    <a:cxn ang="0">
                      <a:pos x="59" y="0"/>
                    </a:cxn>
                  </a:cxnLst>
                  <a:rect l="0" t="0" r="r" b="b"/>
                  <a:pathLst>
                    <a:path w="79" h="105">
                      <a:moveTo>
                        <a:pt x="59" y="10"/>
                      </a:moveTo>
                      <a:cubicBezTo>
                        <a:pt x="35" y="18"/>
                        <a:pt x="58" y="43"/>
                        <a:pt x="52" y="59"/>
                      </a:cubicBezTo>
                      <a:cubicBezTo>
                        <a:pt x="45" y="78"/>
                        <a:pt x="20" y="86"/>
                        <a:pt x="0" y="89"/>
                      </a:cubicBezTo>
                      <a:cubicBezTo>
                        <a:pt x="16" y="105"/>
                        <a:pt x="47" y="79"/>
                        <a:pt x="58" y="65"/>
                      </a:cubicBezTo>
                      <a:cubicBezTo>
                        <a:pt x="79" y="39"/>
                        <a:pt x="66" y="28"/>
                        <a:pt x="59" y="0"/>
                      </a:cubicBezTo>
                    </a:path>
                  </a:pathLst>
                </a:custGeom>
                <a:solidFill>
                  <a:srgbClr val="808080">
                    <a:lumMod val="75000"/>
                  </a:srgb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03" name="Freeform 466"/>
                <p:cNvSpPr>
                  <a:spLocks/>
                </p:cNvSpPr>
                <p:nvPr/>
              </p:nvSpPr>
              <p:spPr bwMode="gray">
                <a:xfrm>
                  <a:off x="6620703" y="2318918"/>
                  <a:ext cx="50157" cy="177573"/>
                </a:xfrm>
                <a:custGeom>
                  <a:avLst/>
                  <a:gdLst/>
                  <a:ahLst/>
                  <a:cxnLst>
                    <a:cxn ang="0">
                      <a:pos x="33" y="6"/>
                    </a:cxn>
                    <a:cxn ang="0">
                      <a:pos x="25" y="74"/>
                    </a:cxn>
                    <a:cxn ang="0">
                      <a:pos x="27" y="133"/>
                    </a:cxn>
                    <a:cxn ang="0">
                      <a:pos x="50" y="182"/>
                    </a:cxn>
                    <a:cxn ang="0">
                      <a:pos x="68" y="241"/>
                    </a:cxn>
                    <a:cxn ang="0">
                      <a:pos x="14" y="120"/>
                    </a:cxn>
                    <a:cxn ang="0">
                      <a:pos x="11" y="53"/>
                    </a:cxn>
                    <a:cxn ang="0">
                      <a:pos x="42" y="0"/>
                    </a:cxn>
                  </a:cxnLst>
                  <a:rect l="0" t="0" r="r" b="b"/>
                  <a:pathLst>
                    <a:path w="68" h="241">
                      <a:moveTo>
                        <a:pt x="33" y="6"/>
                      </a:moveTo>
                      <a:cubicBezTo>
                        <a:pt x="32" y="36"/>
                        <a:pt x="32" y="50"/>
                        <a:pt x="25" y="74"/>
                      </a:cubicBezTo>
                      <a:cubicBezTo>
                        <a:pt x="20" y="94"/>
                        <a:pt x="17" y="112"/>
                        <a:pt x="27" y="133"/>
                      </a:cubicBezTo>
                      <a:cubicBezTo>
                        <a:pt x="36" y="151"/>
                        <a:pt x="45" y="158"/>
                        <a:pt x="50" y="182"/>
                      </a:cubicBezTo>
                      <a:cubicBezTo>
                        <a:pt x="54" y="201"/>
                        <a:pt x="57" y="226"/>
                        <a:pt x="68" y="241"/>
                      </a:cubicBezTo>
                      <a:cubicBezTo>
                        <a:pt x="43" y="205"/>
                        <a:pt x="33" y="160"/>
                        <a:pt x="14" y="120"/>
                      </a:cubicBezTo>
                      <a:cubicBezTo>
                        <a:pt x="0" y="90"/>
                        <a:pt x="1" y="83"/>
                        <a:pt x="11" y="53"/>
                      </a:cubicBezTo>
                      <a:cubicBezTo>
                        <a:pt x="17" y="35"/>
                        <a:pt x="20" y="2"/>
                        <a:pt x="42" y="0"/>
                      </a:cubicBezTo>
                    </a:path>
                  </a:pathLst>
                </a:custGeom>
                <a:solidFill>
                  <a:srgbClr val="C0C0C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04" name="Freeform 467"/>
                <p:cNvSpPr>
                  <a:spLocks/>
                </p:cNvSpPr>
                <p:nvPr/>
              </p:nvSpPr>
              <p:spPr bwMode="gray">
                <a:xfrm>
                  <a:off x="6885505" y="2262530"/>
                  <a:ext cx="76637" cy="100002"/>
                </a:xfrm>
                <a:custGeom>
                  <a:avLst/>
                  <a:gdLst/>
                  <a:ahLst/>
                  <a:cxnLst>
                    <a:cxn ang="0">
                      <a:pos x="7" y="83"/>
                    </a:cxn>
                    <a:cxn ang="0">
                      <a:pos x="56" y="31"/>
                    </a:cxn>
                    <a:cxn ang="0">
                      <a:pos x="98" y="136"/>
                    </a:cxn>
                    <a:cxn ang="0">
                      <a:pos x="42" y="0"/>
                    </a:cxn>
                    <a:cxn ang="0">
                      <a:pos x="0" y="80"/>
                    </a:cxn>
                  </a:cxnLst>
                  <a:rect l="0" t="0" r="r" b="b"/>
                  <a:pathLst>
                    <a:path w="104" h="136">
                      <a:moveTo>
                        <a:pt x="7" y="83"/>
                      </a:moveTo>
                      <a:cubicBezTo>
                        <a:pt x="40" y="86"/>
                        <a:pt x="38" y="46"/>
                        <a:pt x="56" y="31"/>
                      </a:cubicBezTo>
                      <a:cubicBezTo>
                        <a:pt x="77" y="53"/>
                        <a:pt x="104" y="105"/>
                        <a:pt x="98" y="136"/>
                      </a:cubicBezTo>
                      <a:cubicBezTo>
                        <a:pt x="98" y="87"/>
                        <a:pt x="97" y="20"/>
                        <a:pt x="42" y="0"/>
                      </a:cubicBezTo>
                      <a:cubicBezTo>
                        <a:pt x="28" y="23"/>
                        <a:pt x="29" y="70"/>
                        <a:pt x="0" y="80"/>
                      </a:cubicBezTo>
                    </a:path>
                  </a:pathLst>
                </a:custGeom>
                <a:solidFill>
                  <a:srgbClr val="C0C0C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05" name="Freeform 468"/>
                <p:cNvSpPr>
                  <a:spLocks/>
                </p:cNvSpPr>
                <p:nvPr/>
              </p:nvSpPr>
              <p:spPr bwMode="gray">
                <a:xfrm>
                  <a:off x="7193298" y="3644485"/>
                  <a:ext cx="91279" cy="180065"/>
                </a:xfrm>
                <a:custGeom>
                  <a:avLst/>
                  <a:gdLst/>
                  <a:ahLst/>
                  <a:cxnLst>
                    <a:cxn ang="0">
                      <a:pos x="0" y="19"/>
                    </a:cxn>
                    <a:cxn ang="0">
                      <a:pos x="39" y="71"/>
                    </a:cxn>
                    <a:cxn ang="0">
                      <a:pos x="77" y="121"/>
                    </a:cxn>
                    <a:cxn ang="0">
                      <a:pos x="0" y="221"/>
                    </a:cxn>
                    <a:cxn ang="0">
                      <a:pos x="0" y="234"/>
                    </a:cxn>
                    <a:cxn ang="0">
                      <a:pos x="120" y="111"/>
                    </a:cxn>
                    <a:cxn ang="0">
                      <a:pos x="16" y="9"/>
                    </a:cxn>
                  </a:cxnLst>
                  <a:rect l="0" t="0" r="r" b="b"/>
                  <a:pathLst>
                    <a:path w="124" h="245">
                      <a:moveTo>
                        <a:pt x="0" y="19"/>
                      </a:moveTo>
                      <a:cubicBezTo>
                        <a:pt x="19" y="33"/>
                        <a:pt x="28" y="52"/>
                        <a:pt x="39" y="71"/>
                      </a:cubicBezTo>
                      <a:cubicBezTo>
                        <a:pt x="48" y="88"/>
                        <a:pt x="67" y="103"/>
                        <a:pt x="77" y="121"/>
                      </a:cubicBezTo>
                      <a:cubicBezTo>
                        <a:pt x="102" y="165"/>
                        <a:pt x="43" y="222"/>
                        <a:pt x="0" y="221"/>
                      </a:cubicBezTo>
                      <a:cubicBezTo>
                        <a:pt x="0" y="226"/>
                        <a:pt x="0" y="229"/>
                        <a:pt x="0" y="234"/>
                      </a:cubicBezTo>
                      <a:cubicBezTo>
                        <a:pt x="73" y="245"/>
                        <a:pt x="124" y="177"/>
                        <a:pt x="120" y="111"/>
                      </a:cubicBezTo>
                      <a:cubicBezTo>
                        <a:pt x="77" y="83"/>
                        <a:pt x="85" y="0"/>
                        <a:pt x="16" y="9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06" name="Freeform 469"/>
                <p:cNvSpPr>
                  <a:spLocks/>
                </p:cNvSpPr>
                <p:nvPr/>
              </p:nvSpPr>
              <p:spPr bwMode="gray">
                <a:xfrm>
                  <a:off x="6633787" y="1720153"/>
                  <a:ext cx="119317" cy="70406"/>
                </a:xfrm>
                <a:custGeom>
                  <a:avLst/>
                  <a:gdLst/>
                  <a:ahLst/>
                  <a:cxnLst>
                    <a:cxn ang="0">
                      <a:pos x="97" y="83"/>
                    </a:cxn>
                    <a:cxn ang="0">
                      <a:pos x="13" y="71"/>
                    </a:cxn>
                    <a:cxn ang="0">
                      <a:pos x="162" y="53"/>
                    </a:cxn>
                    <a:cxn ang="0">
                      <a:pos x="0" y="92"/>
                    </a:cxn>
                    <a:cxn ang="0">
                      <a:pos x="81" y="73"/>
                    </a:cxn>
                  </a:cxnLst>
                  <a:rect l="0" t="0" r="r" b="b"/>
                  <a:pathLst>
                    <a:path w="162" h="96">
                      <a:moveTo>
                        <a:pt x="97" y="83"/>
                      </a:moveTo>
                      <a:cubicBezTo>
                        <a:pt x="70" y="78"/>
                        <a:pt x="39" y="75"/>
                        <a:pt x="13" y="71"/>
                      </a:cubicBezTo>
                      <a:cubicBezTo>
                        <a:pt x="62" y="52"/>
                        <a:pt x="108" y="56"/>
                        <a:pt x="162" y="53"/>
                      </a:cubicBezTo>
                      <a:cubicBezTo>
                        <a:pt x="130" y="0"/>
                        <a:pt x="15" y="40"/>
                        <a:pt x="0" y="92"/>
                      </a:cubicBezTo>
                      <a:cubicBezTo>
                        <a:pt x="28" y="96"/>
                        <a:pt x="54" y="66"/>
                        <a:pt x="81" y="73"/>
                      </a:cubicBezTo>
                    </a:path>
                  </a:pathLst>
                </a:custGeom>
                <a:solidFill>
                  <a:srgbClr val="877468"/>
                </a:solidFill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07" name="Freeform 470"/>
                <p:cNvSpPr>
                  <a:spLocks/>
                </p:cNvSpPr>
                <p:nvPr/>
              </p:nvSpPr>
              <p:spPr bwMode="gray">
                <a:xfrm>
                  <a:off x="6633787" y="1720153"/>
                  <a:ext cx="119317" cy="70406"/>
                </a:xfrm>
                <a:custGeom>
                  <a:avLst/>
                  <a:gdLst/>
                  <a:ahLst/>
                  <a:cxnLst>
                    <a:cxn ang="0">
                      <a:pos x="97" y="83"/>
                    </a:cxn>
                    <a:cxn ang="0">
                      <a:pos x="13" y="71"/>
                    </a:cxn>
                    <a:cxn ang="0">
                      <a:pos x="162" y="53"/>
                    </a:cxn>
                    <a:cxn ang="0">
                      <a:pos x="0" y="92"/>
                    </a:cxn>
                    <a:cxn ang="0">
                      <a:pos x="81" y="73"/>
                    </a:cxn>
                  </a:cxnLst>
                  <a:rect l="0" t="0" r="r" b="b"/>
                  <a:pathLst>
                    <a:path w="162" h="96">
                      <a:moveTo>
                        <a:pt x="97" y="83"/>
                      </a:moveTo>
                      <a:cubicBezTo>
                        <a:pt x="70" y="78"/>
                        <a:pt x="39" y="75"/>
                        <a:pt x="13" y="71"/>
                      </a:cubicBezTo>
                      <a:cubicBezTo>
                        <a:pt x="62" y="52"/>
                        <a:pt x="108" y="56"/>
                        <a:pt x="162" y="53"/>
                      </a:cubicBezTo>
                      <a:cubicBezTo>
                        <a:pt x="130" y="0"/>
                        <a:pt x="15" y="40"/>
                        <a:pt x="0" y="92"/>
                      </a:cubicBezTo>
                      <a:cubicBezTo>
                        <a:pt x="28" y="96"/>
                        <a:pt x="54" y="66"/>
                        <a:pt x="81" y="73"/>
                      </a:cubicBezTo>
                    </a:path>
                  </a:pathLst>
                </a:custGeom>
                <a:solidFill>
                  <a:srgbClr val="000000"/>
                </a:solidFill>
                <a:ln w="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08" name="Freeform 471"/>
                <p:cNvSpPr>
                  <a:spLocks/>
                </p:cNvSpPr>
                <p:nvPr/>
              </p:nvSpPr>
              <p:spPr bwMode="gray">
                <a:xfrm>
                  <a:off x="6530981" y="1812678"/>
                  <a:ext cx="92525" cy="171654"/>
                </a:xfrm>
                <a:custGeom>
                  <a:avLst/>
                  <a:gdLst/>
                  <a:ahLst/>
                  <a:cxnLst>
                    <a:cxn ang="0">
                      <a:pos x="32" y="163"/>
                    </a:cxn>
                    <a:cxn ang="0">
                      <a:pos x="77" y="59"/>
                    </a:cxn>
                    <a:cxn ang="0">
                      <a:pos x="68" y="101"/>
                    </a:cxn>
                    <a:cxn ang="0">
                      <a:pos x="126" y="6"/>
                    </a:cxn>
                    <a:cxn ang="0">
                      <a:pos x="28" y="94"/>
                    </a:cxn>
                    <a:cxn ang="0">
                      <a:pos x="22" y="172"/>
                    </a:cxn>
                    <a:cxn ang="0">
                      <a:pos x="0" y="233"/>
                    </a:cxn>
                    <a:cxn ang="0">
                      <a:pos x="32" y="149"/>
                    </a:cxn>
                  </a:cxnLst>
                  <a:rect l="0" t="0" r="r" b="b"/>
                  <a:pathLst>
                    <a:path w="126" h="233">
                      <a:moveTo>
                        <a:pt x="32" y="163"/>
                      </a:moveTo>
                      <a:cubicBezTo>
                        <a:pt x="36" y="122"/>
                        <a:pt x="51" y="88"/>
                        <a:pt x="77" y="59"/>
                      </a:cubicBezTo>
                      <a:cubicBezTo>
                        <a:pt x="72" y="72"/>
                        <a:pt x="61" y="88"/>
                        <a:pt x="68" y="101"/>
                      </a:cubicBezTo>
                      <a:cubicBezTo>
                        <a:pt x="85" y="68"/>
                        <a:pt x="107" y="39"/>
                        <a:pt x="126" y="6"/>
                      </a:cubicBezTo>
                      <a:cubicBezTo>
                        <a:pt x="85" y="0"/>
                        <a:pt x="40" y="59"/>
                        <a:pt x="28" y="94"/>
                      </a:cubicBezTo>
                      <a:cubicBezTo>
                        <a:pt x="21" y="118"/>
                        <a:pt x="28" y="147"/>
                        <a:pt x="22" y="172"/>
                      </a:cubicBezTo>
                      <a:cubicBezTo>
                        <a:pt x="17" y="192"/>
                        <a:pt x="8" y="214"/>
                        <a:pt x="0" y="233"/>
                      </a:cubicBezTo>
                      <a:cubicBezTo>
                        <a:pt x="32" y="213"/>
                        <a:pt x="21" y="179"/>
                        <a:pt x="32" y="149"/>
                      </a:cubicBezTo>
                    </a:path>
                  </a:pathLst>
                </a:custGeom>
                <a:solidFill>
                  <a:srgbClr val="877468"/>
                </a:solidFill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09" name="Freeform 472"/>
                <p:cNvSpPr>
                  <a:spLocks/>
                </p:cNvSpPr>
                <p:nvPr/>
              </p:nvSpPr>
              <p:spPr bwMode="gray">
                <a:xfrm>
                  <a:off x="6530981" y="1812678"/>
                  <a:ext cx="92525" cy="171654"/>
                </a:xfrm>
                <a:custGeom>
                  <a:avLst/>
                  <a:gdLst/>
                  <a:ahLst/>
                  <a:cxnLst>
                    <a:cxn ang="0">
                      <a:pos x="32" y="163"/>
                    </a:cxn>
                    <a:cxn ang="0">
                      <a:pos x="77" y="59"/>
                    </a:cxn>
                    <a:cxn ang="0">
                      <a:pos x="68" y="101"/>
                    </a:cxn>
                    <a:cxn ang="0">
                      <a:pos x="126" y="6"/>
                    </a:cxn>
                    <a:cxn ang="0">
                      <a:pos x="28" y="94"/>
                    </a:cxn>
                    <a:cxn ang="0">
                      <a:pos x="22" y="172"/>
                    </a:cxn>
                    <a:cxn ang="0">
                      <a:pos x="0" y="233"/>
                    </a:cxn>
                    <a:cxn ang="0">
                      <a:pos x="32" y="149"/>
                    </a:cxn>
                  </a:cxnLst>
                  <a:rect l="0" t="0" r="r" b="b"/>
                  <a:pathLst>
                    <a:path w="126" h="233">
                      <a:moveTo>
                        <a:pt x="32" y="163"/>
                      </a:moveTo>
                      <a:cubicBezTo>
                        <a:pt x="36" y="122"/>
                        <a:pt x="51" y="88"/>
                        <a:pt x="77" y="59"/>
                      </a:cubicBezTo>
                      <a:cubicBezTo>
                        <a:pt x="72" y="72"/>
                        <a:pt x="61" y="88"/>
                        <a:pt x="68" y="101"/>
                      </a:cubicBezTo>
                      <a:cubicBezTo>
                        <a:pt x="85" y="68"/>
                        <a:pt x="107" y="39"/>
                        <a:pt x="126" y="6"/>
                      </a:cubicBezTo>
                      <a:cubicBezTo>
                        <a:pt x="85" y="0"/>
                        <a:pt x="40" y="59"/>
                        <a:pt x="28" y="94"/>
                      </a:cubicBezTo>
                      <a:cubicBezTo>
                        <a:pt x="21" y="118"/>
                        <a:pt x="28" y="147"/>
                        <a:pt x="22" y="172"/>
                      </a:cubicBezTo>
                      <a:cubicBezTo>
                        <a:pt x="17" y="192"/>
                        <a:pt x="8" y="214"/>
                        <a:pt x="0" y="233"/>
                      </a:cubicBezTo>
                      <a:cubicBezTo>
                        <a:pt x="32" y="213"/>
                        <a:pt x="21" y="179"/>
                        <a:pt x="32" y="149"/>
                      </a:cubicBezTo>
                    </a:path>
                  </a:pathLst>
                </a:custGeom>
                <a:solidFill>
                  <a:srgbClr val="000000"/>
                </a:solidFill>
                <a:ln w="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10" name="Freeform 473"/>
                <p:cNvSpPr>
                  <a:spLocks/>
                </p:cNvSpPr>
                <p:nvPr/>
              </p:nvSpPr>
              <p:spPr bwMode="gray">
                <a:xfrm>
                  <a:off x="6861205" y="1808940"/>
                  <a:ext cx="72275" cy="127417"/>
                </a:xfrm>
                <a:custGeom>
                  <a:avLst/>
                  <a:gdLst/>
                  <a:ahLst/>
                  <a:cxnLst>
                    <a:cxn ang="0">
                      <a:pos x="10" y="17"/>
                    </a:cxn>
                    <a:cxn ang="0">
                      <a:pos x="56" y="131"/>
                    </a:cxn>
                    <a:cxn ang="0">
                      <a:pos x="63" y="86"/>
                    </a:cxn>
                    <a:cxn ang="0">
                      <a:pos x="88" y="173"/>
                    </a:cxn>
                    <a:cxn ang="0">
                      <a:pos x="75" y="54"/>
                    </a:cxn>
                    <a:cxn ang="0">
                      <a:pos x="17" y="2"/>
                    </a:cxn>
                    <a:cxn ang="0">
                      <a:pos x="0" y="21"/>
                    </a:cxn>
                  </a:cxnLst>
                  <a:rect l="0" t="0" r="r" b="b"/>
                  <a:pathLst>
                    <a:path w="98" h="173">
                      <a:moveTo>
                        <a:pt x="10" y="17"/>
                      </a:moveTo>
                      <a:cubicBezTo>
                        <a:pt x="44" y="36"/>
                        <a:pt x="57" y="90"/>
                        <a:pt x="56" y="131"/>
                      </a:cubicBezTo>
                      <a:cubicBezTo>
                        <a:pt x="58" y="116"/>
                        <a:pt x="66" y="103"/>
                        <a:pt x="63" y="86"/>
                      </a:cubicBezTo>
                      <a:cubicBezTo>
                        <a:pt x="79" y="107"/>
                        <a:pt x="88" y="146"/>
                        <a:pt x="88" y="173"/>
                      </a:cubicBezTo>
                      <a:cubicBezTo>
                        <a:pt x="86" y="129"/>
                        <a:pt x="98" y="93"/>
                        <a:pt x="75" y="54"/>
                      </a:cubicBezTo>
                      <a:cubicBezTo>
                        <a:pt x="63" y="36"/>
                        <a:pt x="40" y="0"/>
                        <a:pt x="17" y="2"/>
                      </a:cubicBezTo>
                      <a:cubicBezTo>
                        <a:pt x="15" y="13"/>
                        <a:pt x="8" y="15"/>
                        <a:pt x="0" y="21"/>
                      </a:cubicBezTo>
                    </a:path>
                  </a:pathLst>
                </a:custGeom>
                <a:solidFill>
                  <a:srgbClr val="736357"/>
                </a:solidFill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11" name="Freeform 474"/>
                <p:cNvSpPr>
                  <a:spLocks/>
                </p:cNvSpPr>
                <p:nvPr/>
              </p:nvSpPr>
              <p:spPr bwMode="gray">
                <a:xfrm>
                  <a:off x="6861205" y="1808940"/>
                  <a:ext cx="72275" cy="127417"/>
                </a:xfrm>
                <a:custGeom>
                  <a:avLst/>
                  <a:gdLst/>
                  <a:ahLst/>
                  <a:cxnLst>
                    <a:cxn ang="0">
                      <a:pos x="10" y="17"/>
                    </a:cxn>
                    <a:cxn ang="0">
                      <a:pos x="56" y="131"/>
                    </a:cxn>
                    <a:cxn ang="0">
                      <a:pos x="63" y="86"/>
                    </a:cxn>
                    <a:cxn ang="0">
                      <a:pos x="88" y="173"/>
                    </a:cxn>
                    <a:cxn ang="0">
                      <a:pos x="75" y="54"/>
                    </a:cxn>
                    <a:cxn ang="0">
                      <a:pos x="17" y="2"/>
                    </a:cxn>
                    <a:cxn ang="0">
                      <a:pos x="0" y="21"/>
                    </a:cxn>
                  </a:cxnLst>
                  <a:rect l="0" t="0" r="r" b="b"/>
                  <a:pathLst>
                    <a:path w="98" h="173">
                      <a:moveTo>
                        <a:pt x="10" y="17"/>
                      </a:moveTo>
                      <a:cubicBezTo>
                        <a:pt x="44" y="36"/>
                        <a:pt x="57" y="90"/>
                        <a:pt x="56" y="131"/>
                      </a:cubicBezTo>
                      <a:cubicBezTo>
                        <a:pt x="58" y="116"/>
                        <a:pt x="66" y="103"/>
                        <a:pt x="63" y="86"/>
                      </a:cubicBezTo>
                      <a:cubicBezTo>
                        <a:pt x="79" y="107"/>
                        <a:pt x="88" y="146"/>
                        <a:pt x="88" y="173"/>
                      </a:cubicBezTo>
                      <a:cubicBezTo>
                        <a:pt x="86" y="129"/>
                        <a:pt x="98" y="93"/>
                        <a:pt x="75" y="54"/>
                      </a:cubicBezTo>
                      <a:cubicBezTo>
                        <a:pt x="63" y="36"/>
                        <a:pt x="40" y="0"/>
                        <a:pt x="17" y="2"/>
                      </a:cubicBezTo>
                      <a:cubicBezTo>
                        <a:pt x="15" y="13"/>
                        <a:pt x="8" y="15"/>
                        <a:pt x="0" y="21"/>
                      </a:cubicBezTo>
                    </a:path>
                  </a:pathLst>
                </a:custGeom>
                <a:solidFill>
                  <a:srgbClr val="000000"/>
                </a:solidFill>
                <a:ln w="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12" name="Freeform 475"/>
                <p:cNvSpPr>
                  <a:spLocks/>
                </p:cNvSpPr>
                <p:nvPr/>
              </p:nvSpPr>
              <p:spPr bwMode="gray">
                <a:xfrm>
                  <a:off x="6771484" y="2991515"/>
                  <a:ext cx="114955" cy="326797"/>
                </a:xfrm>
                <a:custGeom>
                  <a:avLst/>
                  <a:gdLst/>
                  <a:ahLst/>
                  <a:cxnLst>
                    <a:cxn ang="0">
                      <a:pos x="125" y="272"/>
                    </a:cxn>
                    <a:cxn ang="0">
                      <a:pos x="39" y="423"/>
                    </a:cxn>
                    <a:cxn ang="0">
                      <a:pos x="49" y="415"/>
                    </a:cxn>
                    <a:cxn ang="0">
                      <a:pos x="8" y="444"/>
                    </a:cxn>
                    <a:cxn ang="0">
                      <a:pos x="43" y="384"/>
                    </a:cxn>
                    <a:cxn ang="0">
                      <a:pos x="86" y="251"/>
                    </a:cxn>
                    <a:cxn ang="0">
                      <a:pos x="113" y="158"/>
                    </a:cxn>
                    <a:cxn ang="0">
                      <a:pos x="126" y="64"/>
                    </a:cxn>
                    <a:cxn ang="0">
                      <a:pos x="138" y="0"/>
                    </a:cxn>
                    <a:cxn ang="0">
                      <a:pos x="125" y="272"/>
                    </a:cxn>
                  </a:cxnLst>
                  <a:rect l="0" t="0" r="r" b="b"/>
                  <a:pathLst>
                    <a:path w="156" h="444">
                      <a:moveTo>
                        <a:pt x="125" y="272"/>
                      </a:moveTo>
                      <a:cubicBezTo>
                        <a:pt x="108" y="320"/>
                        <a:pt x="77" y="388"/>
                        <a:pt x="39" y="423"/>
                      </a:cubicBezTo>
                      <a:cubicBezTo>
                        <a:pt x="43" y="419"/>
                        <a:pt x="47" y="417"/>
                        <a:pt x="49" y="415"/>
                      </a:cubicBezTo>
                      <a:cubicBezTo>
                        <a:pt x="42" y="431"/>
                        <a:pt x="24" y="442"/>
                        <a:pt x="8" y="444"/>
                      </a:cubicBezTo>
                      <a:cubicBezTo>
                        <a:pt x="0" y="412"/>
                        <a:pt x="25" y="402"/>
                        <a:pt x="43" y="384"/>
                      </a:cubicBezTo>
                      <a:cubicBezTo>
                        <a:pt x="80" y="348"/>
                        <a:pt x="82" y="304"/>
                        <a:pt x="86" y="251"/>
                      </a:cubicBezTo>
                      <a:cubicBezTo>
                        <a:pt x="89" y="213"/>
                        <a:pt x="102" y="192"/>
                        <a:pt x="113" y="158"/>
                      </a:cubicBezTo>
                      <a:cubicBezTo>
                        <a:pt x="124" y="128"/>
                        <a:pt x="119" y="95"/>
                        <a:pt x="126" y="64"/>
                      </a:cubicBezTo>
                      <a:cubicBezTo>
                        <a:pt x="130" y="42"/>
                        <a:pt x="139" y="24"/>
                        <a:pt x="138" y="0"/>
                      </a:cubicBezTo>
                      <a:cubicBezTo>
                        <a:pt x="138" y="88"/>
                        <a:pt x="156" y="187"/>
                        <a:pt x="125" y="272"/>
                      </a:cubicBezTo>
                      <a:close/>
                    </a:path>
                  </a:pathLst>
                </a:custGeom>
                <a:solidFill>
                  <a:srgbClr val="808080">
                    <a:lumMod val="75000"/>
                  </a:srgb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13" name="Freeform 478"/>
                <p:cNvSpPr>
                  <a:spLocks/>
                </p:cNvSpPr>
                <p:nvPr/>
              </p:nvSpPr>
              <p:spPr bwMode="gray">
                <a:xfrm>
                  <a:off x="7253424" y="5512742"/>
                  <a:ext cx="90033" cy="103740"/>
                </a:xfrm>
                <a:custGeom>
                  <a:avLst/>
                  <a:gdLst/>
                  <a:ahLst/>
                  <a:cxnLst>
                    <a:cxn ang="0">
                      <a:pos x="35" y="10"/>
                    </a:cxn>
                    <a:cxn ang="0">
                      <a:pos x="3" y="11"/>
                    </a:cxn>
                    <a:cxn ang="0">
                      <a:pos x="31" y="40"/>
                    </a:cxn>
                    <a:cxn ang="0">
                      <a:pos x="51" y="75"/>
                    </a:cxn>
                    <a:cxn ang="0">
                      <a:pos x="122" y="141"/>
                    </a:cxn>
                    <a:cxn ang="0">
                      <a:pos x="78" y="81"/>
                    </a:cxn>
                    <a:cxn ang="0">
                      <a:pos x="41" y="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22" h="141">
                      <a:moveTo>
                        <a:pt x="35" y="10"/>
                      </a:moveTo>
                      <a:cubicBezTo>
                        <a:pt x="25" y="9"/>
                        <a:pt x="13" y="10"/>
                        <a:pt x="3" y="11"/>
                      </a:cubicBezTo>
                      <a:cubicBezTo>
                        <a:pt x="0" y="29"/>
                        <a:pt x="21" y="31"/>
                        <a:pt x="31" y="40"/>
                      </a:cubicBezTo>
                      <a:cubicBezTo>
                        <a:pt x="42" y="52"/>
                        <a:pt x="45" y="62"/>
                        <a:pt x="51" y="75"/>
                      </a:cubicBezTo>
                      <a:cubicBezTo>
                        <a:pt x="67" y="110"/>
                        <a:pt x="82" y="130"/>
                        <a:pt x="122" y="141"/>
                      </a:cubicBezTo>
                      <a:cubicBezTo>
                        <a:pt x="97" y="125"/>
                        <a:pt x="87" y="105"/>
                        <a:pt x="78" y="81"/>
                      </a:cubicBezTo>
                      <a:cubicBezTo>
                        <a:pt x="67" y="54"/>
                        <a:pt x="48" y="34"/>
                        <a:pt x="41" y="7"/>
                      </a:cubicBezTo>
                      <a:cubicBezTo>
                        <a:pt x="33" y="4"/>
                        <a:pt x="24" y="0"/>
                        <a:pt x="15" y="0"/>
                      </a:cubicBezTo>
                    </a:path>
                  </a:pathLst>
                </a:custGeom>
                <a:solidFill>
                  <a:srgbClr val="F0F0F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14" name="Stern mit 4 Zacken 130"/>
                <p:cNvSpPr/>
                <p:nvPr/>
              </p:nvSpPr>
              <p:spPr bwMode="gray">
                <a:xfrm>
                  <a:off x="6953727" y="1590582"/>
                  <a:ext cx="146172" cy="118989"/>
                </a:xfrm>
                <a:prstGeom prst="star4">
                  <a:avLst>
                    <a:gd name="adj" fmla="val 2866"/>
                  </a:avLst>
                </a:prstGeom>
                <a:gradFill flip="none" rotWithShape="1">
                  <a:gsLst>
                    <a:gs pos="1000">
                      <a:srgbClr val="FFFFFF"/>
                    </a:gs>
                    <a:gs pos="100000">
                      <a:srgbClr val="FFFFFF">
                        <a:alpha val="0"/>
                      </a:srgbClr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 w="12700">
                  <a:noFill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 defTabSz="1167711">
                    <a:defRPr/>
                  </a:pPr>
                  <a:endParaRPr lang="en-US" sz="1100" kern="0" dirty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74" name="Group 955"/>
              <p:cNvGrpSpPr/>
              <p:nvPr/>
            </p:nvGrpSpPr>
            <p:grpSpPr>
              <a:xfrm>
                <a:off x="4401921" y="2416783"/>
                <a:ext cx="643156" cy="1947807"/>
                <a:chOff x="5596731" y="1613488"/>
                <a:chExt cx="979819" cy="2967395"/>
              </a:xfrm>
            </p:grpSpPr>
            <p:sp>
              <p:nvSpPr>
                <p:cNvPr id="114" name="Freeform 267"/>
                <p:cNvSpPr>
                  <a:spLocks/>
                </p:cNvSpPr>
                <p:nvPr/>
              </p:nvSpPr>
              <p:spPr bwMode="gray">
                <a:xfrm>
                  <a:off x="6367669" y="2299452"/>
                  <a:ext cx="92531" cy="479832"/>
                </a:xfrm>
                <a:custGeom>
                  <a:avLst/>
                  <a:gdLst/>
                  <a:ahLst/>
                  <a:cxnLst>
                    <a:cxn ang="0">
                      <a:pos x="12" y="41"/>
                    </a:cxn>
                    <a:cxn ang="0">
                      <a:pos x="0" y="275"/>
                    </a:cxn>
                    <a:cxn ang="0">
                      <a:pos x="34" y="498"/>
                    </a:cxn>
                    <a:cxn ang="0">
                      <a:pos x="1" y="887"/>
                    </a:cxn>
                    <a:cxn ang="0">
                      <a:pos x="35" y="736"/>
                    </a:cxn>
                    <a:cxn ang="0">
                      <a:pos x="18" y="415"/>
                    </a:cxn>
                    <a:cxn ang="0">
                      <a:pos x="24" y="211"/>
                    </a:cxn>
                    <a:cxn ang="0">
                      <a:pos x="29" y="0"/>
                    </a:cxn>
                  </a:cxnLst>
                  <a:rect l="0" t="0" r="r" b="b"/>
                  <a:pathLst>
                    <a:path w="171" h="887">
                      <a:moveTo>
                        <a:pt x="12" y="41"/>
                      </a:moveTo>
                      <a:cubicBezTo>
                        <a:pt x="37" y="97"/>
                        <a:pt x="0" y="207"/>
                        <a:pt x="0" y="275"/>
                      </a:cubicBezTo>
                      <a:cubicBezTo>
                        <a:pt x="0" y="361"/>
                        <a:pt x="6" y="422"/>
                        <a:pt x="34" y="498"/>
                      </a:cubicBezTo>
                      <a:cubicBezTo>
                        <a:pt x="80" y="621"/>
                        <a:pt x="171" y="811"/>
                        <a:pt x="1" y="887"/>
                      </a:cubicBezTo>
                      <a:cubicBezTo>
                        <a:pt x="13" y="832"/>
                        <a:pt x="35" y="802"/>
                        <a:pt x="35" y="736"/>
                      </a:cubicBezTo>
                      <a:cubicBezTo>
                        <a:pt x="35" y="631"/>
                        <a:pt x="28" y="520"/>
                        <a:pt x="18" y="415"/>
                      </a:cubicBezTo>
                      <a:cubicBezTo>
                        <a:pt x="11" y="345"/>
                        <a:pt x="18" y="278"/>
                        <a:pt x="24" y="211"/>
                      </a:cubicBezTo>
                      <a:cubicBezTo>
                        <a:pt x="30" y="144"/>
                        <a:pt x="7" y="62"/>
                        <a:pt x="29" y="0"/>
                      </a:cubicBezTo>
                    </a:path>
                  </a:pathLst>
                </a:custGeom>
                <a:solidFill>
                  <a:srgbClr val="1B242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5" name="Freeform 268"/>
                <p:cNvSpPr>
                  <a:spLocks/>
                </p:cNvSpPr>
                <p:nvPr/>
              </p:nvSpPr>
              <p:spPr bwMode="gray">
                <a:xfrm>
                  <a:off x="5735298" y="4251987"/>
                  <a:ext cx="272554" cy="291105"/>
                </a:xfrm>
                <a:custGeom>
                  <a:avLst/>
                  <a:gdLst/>
                  <a:ahLst/>
                  <a:cxnLst>
                    <a:cxn ang="0">
                      <a:pos x="453" y="0"/>
                    </a:cxn>
                    <a:cxn ang="0">
                      <a:pos x="491" y="43"/>
                    </a:cxn>
                    <a:cxn ang="0">
                      <a:pos x="503" y="116"/>
                    </a:cxn>
                    <a:cxn ang="0">
                      <a:pos x="451" y="228"/>
                    </a:cxn>
                    <a:cxn ang="0">
                      <a:pos x="385" y="327"/>
                    </a:cxn>
                    <a:cxn ang="0">
                      <a:pos x="343" y="382"/>
                    </a:cxn>
                    <a:cxn ang="0">
                      <a:pos x="324" y="452"/>
                    </a:cxn>
                    <a:cxn ang="0">
                      <a:pos x="196" y="515"/>
                    </a:cxn>
                    <a:cxn ang="0">
                      <a:pos x="56" y="537"/>
                    </a:cxn>
                    <a:cxn ang="0">
                      <a:pos x="4" y="531"/>
                    </a:cxn>
                    <a:cxn ang="0">
                      <a:pos x="44" y="415"/>
                    </a:cxn>
                    <a:cxn ang="0">
                      <a:pos x="94" y="301"/>
                    </a:cxn>
                    <a:cxn ang="0">
                      <a:pos x="205" y="239"/>
                    </a:cxn>
                    <a:cxn ang="0">
                      <a:pos x="318" y="133"/>
                    </a:cxn>
                    <a:cxn ang="0">
                      <a:pos x="372" y="26"/>
                    </a:cxn>
                    <a:cxn ang="0">
                      <a:pos x="471" y="11"/>
                    </a:cxn>
                  </a:cxnLst>
                  <a:rect l="0" t="0" r="r" b="b"/>
                  <a:pathLst>
                    <a:path w="504" h="538">
                      <a:moveTo>
                        <a:pt x="453" y="0"/>
                      </a:moveTo>
                      <a:cubicBezTo>
                        <a:pt x="468" y="18"/>
                        <a:pt x="482" y="20"/>
                        <a:pt x="491" y="43"/>
                      </a:cubicBezTo>
                      <a:cubicBezTo>
                        <a:pt x="500" y="66"/>
                        <a:pt x="502" y="91"/>
                        <a:pt x="503" y="116"/>
                      </a:cubicBezTo>
                      <a:cubicBezTo>
                        <a:pt x="504" y="156"/>
                        <a:pt x="497" y="220"/>
                        <a:pt x="451" y="228"/>
                      </a:cubicBezTo>
                      <a:cubicBezTo>
                        <a:pt x="427" y="259"/>
                        <a:pt x="408" y="295"/>
                        <a:pt x="385" y="327"/>
                      </a:cubicBezTo>
                      <a:cubicBezTo>
                        <a:pt x="373" y="344"/>
                        <a:pt x="349" y="362"/>
                        <a:pt x="343" y="382"/>
                      </a:cubicBezTo>
                      <a:cubicBezTo>
                        <a:pt x="334" y="411"/>
                        <a:pt x="345" y="427"/>
                        <a:pt x="324" y="452"/>
                      </a:cubicBezTo>
                      <a:cubicBezTo>
                        <a:pt x="289" y="493"/>
                        <a:pt x="242" y="495"/>
                        <a:pt x="196" y="515"/>
                      </a:cubicBezTo>
                      <a:cubicBezTo>
                        <a:pt x="151" y="535"/>
                        <a:pt x="109" y="535"/>
                        <a:pt x="56" y="537"/>
                      </a:cubicBezTo>
                      <a:cubicBezTo>
                        <a:pt x="42" y="538"/>
                        <a:pt x="19" y="532"/>
                        <a:pt x="4" y="531"/>
                      </a:cubicBezTo>
                      <a:cubicBezTo>
                        <a:pt x="0" y="499"/>
                        <a:pt x="30" y="441"/>
                        <a:pt x="44" y="415"/>
                      </a:cubicBezTo>
                      <a:cubicBezTo>
                        <a:pt x="62" y="381"/>
                        <a:pt x="70" y="333"/>
                        <a:pt x="94" y="301"/>
                      </a:cubicBezTo>
                      <a:cubicBezTo>
                        <a:pt x="120" y="267"/>
                        <a:pt x="170" y="258"/>
                        <a:pt x="205" y="239"/>
                      </a:cubicBezTo>
                      <a:cubicBezTo>
                        <a:pt x="250" y="213"/>
                        <a:pt x="288" y="178"/>
                        <a:pt x="318" y="133"/>
                      </a:cubicBezTo>
                      <a:cubicBezTo>
                        <a:pt x="340" y="101"/>
                        <a:pt x="341" y="52"/>
                        <a:pt x="372" y="26"/>
                      </a:cubicBezTo>
                      <a:cubicBezTo>
                        <a:pt x="398" y="5"/>
                        <a:pt x="439" y="6"/>
                        <a:pt x="471" y="11"/>
                      </a:cubicBezTo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6" name="Freeform 269"/>
                <p:cNvSpPr>
                  <a:spLocks/>
                </p:cNvSpPr>
                <p:nvPr/>
              </p:nvSpPr>
              <p:spPr bwMode="gray">
                <a:xfrm>
                  <a:off x="5785457" y="3032597"/>
                  <a:ext cx="420969" cy="1436288"/>
                </a:xfrm>
                <a:custGeom>
                  <a:avLst/>
                  <a:gdLst/>
                  <a:ahLst/>
                  <a:cxnLst>
                    <a:cxn ang="0">
                      <a:pos x="751" y="46"/>
                    </a:cxn>
                    <a:cxn ang="0">
                      <a:pos x="715" y="302"/>
                    </a:cxn>
                    <a:cxn ang="0">
                      <a:pos x="696" y="587"/>
                    </a:cxn>
                    <a:cxn ang="0">
                      <a:pos x="681" y="884"/>
                    </a:cxn>
                    <a:cxn ang="0">
                      <a:pos x="689" y="1016"/>
                    </a:cxn>
                    <a:cxn ang="0">
                      <a:pos x="651" y="1113"/>
                    </a:cxn>
                    <a:cxn ang="0">
                      <a:pos x="622" y="1298"/>
                    </a:cxn>
                    <a:cxn ang="0">
                      <a:pos x="568" y="1465"/>
                    </a:cxn>
                    <a:cxn ang="0">
                      <a:pos x="547" y="1679"/>
                    </a:cxn>
                    <a:cxn ang="0">
                      <a:pos x="424" y="2026"/>
                    </a:cxn>
                    <a:cxn ang="0">
                      <a:pos x="377" y="2201"/>
                    </a:cxn>
                    <a:cxn ang="0">
                      <a:pos x="377" y="2291"/>
                    </a:cxn>
                    <a:cxn ang="0">
                      <a:pos x="374" y="2408"/>
                    </a:cxn>
                    <a:cxn ang="0">
                      <a:pos x="286" y="2521"/>
                    </a:cxn>
                    <a:cxn ang="0">
                      <a:pos x="211" y="2655"/>
                    </a:cxn>
                    <a:cxn ang="0">
                      <a:pos x="12" y="2581"/>
                    </a:cxn>
                    <a:cxn ang="0">
                      <a:pos x="113" y="2475"/>
                    </a:cxn>
                    <a:cxn ang="0">
                      <a:pos x="210" y="2354"/>
                    </a:cxn>
                    <a:cxn ang="0">
                      <a:pos x="252" y="1741"/>
                    </a:cxn>
                    <a:cxn ang="0">
                      <a:pos x="270" y="1473"/>
                    </a:cxn>
                    <a:cxn ang="0">
                      <a:pos x="283" y="1380"/>
                    </a:cxn>
                    <a:cxn ang="0">
                      <a:pos x="345" y="1184"/>
                    </a:cxn>
                    <a:cxn ang="0">
                      <a:pos x="354" y="1079"/>
                    </a:cxn>
                    <a:cxn ang="0">
                      <a:pos x="372" y="967"/>
                    </a:cxn>
                    <a:cxn ang="0">
                      <a:pos x="357" y="676"/>
                    </a:cxn>
                    <a:cxn ang="0">
                      <a:pos x="358" y="8"/>
                    </a:cxn>
                    <a:cxn ang="0">
                      <a:pos x="778" y="50"/>
                    </a:cxn>
                  </a:cxnLst>
                  <a:rect l="0" t="0" r="r" b="b"/>
                  <a:pathLst>
                    <a:path w="778" h="2655">
                      <a:moveTo>
                        <a:pt x="751" y="46"/>
                      </a:moveTo>
                      <a:cubicBezTo>
                        <a:pt x="750" y="133"/>
                        <a:pt x="733" y="218"/>
                        <a:pt x="715" y="302"/>
                      </a:cubicBezTo>
                      <a:cubicBezTo>
                        <a:pt x="694" y="393"/>
                        <a:pt x="701" y="495"/>
                        <a:pt x="696" y="587"/>
                      </a:cubicBezTo>
                      <a:cubicBezTo>
                        <a:pt x="692" y="687"/>
                        <a:pt x="680" y="784"/>
                        <a:pt x="681" y="884"/>
                      </a:cubicBezTo>
                      <a:cubicBezTo>
                        <a:pt x="681" y="929"/>
                        <a:pt x="689" y="970"/>
                        <a:pt x="689" y="1016"/>
                      </a:cubicBezTo>
                      <a:cubicBezTo>
                        <a:pt x="688" y="1062"/>
                        <a:pt x="669" y="1075"/>
                        <a:pt x="651" y="1113"/>
                      </a:cubicBezTo>
                      <a:cubicBezTo>
                        <a:pt x="634" y="1151"/>
                        <a:pt x="641" y="1272"/>
                        <a:pt x="622" y="1298"/>
                      </a:cubicBezTo>
                      <a:cubicBezTo>
                        <a:pt x="592" y="1340"/>
                        <a:pt x="568" y="1404"/>
                        <a:pt x="568" y="1465"/>
                      </a:cubicBezTo>
                      <a:cubicBezTo>
                        <a:pt x="568" y="1538"/>
                        <a:pt x="568" y="1609"/>
                        <a:pt x="547" y="1679"/>
                      </a:cubicBezTo>
                      <a:cubicBezTo>
                        <a:pt x="529" y="1741"/>
                        <a:pt x="445" y="1972"/>
                        <a:pt x="424" y="2026"/>
                      </a:cubicBezTo>
                      <a:cubicBezTo>
                        <a:pt x="402" y="2084"/>
                        <a:pt x="382" y="2137"/>
                        <a:pt x="377" y="2201"/>
                      </a:cubicBezTo>
                      <a:cubicBezTo>
                        <a:pt x="374" y="2231"/>
                        <a:pt x="370" y="2262"/>
                        <a:pt x="377" y="2291"/>
                      </a:cubicBezTo>
                      <a:cubicBezTo>
                        <a:pt x="384" y="2320"/>
                        <a:pt x="384" y="2374"/>
                        <a:pt x="374" y="2408"/>
                      </a:cubicBezTo>
                      <a:cubicBezTo>
                        <a:pt x="358" y="2461"/>
                        <a:pt x="327" y="2480"/>
                        <a:pt x="286" y="2521"/>
                      </a:cubicBezTo>
                      <a:cubicBezTo>
                        <a:pt x="255" y="2552"/>
                        <a:pt x="255" y="2616"/>
                        <a:pt x="211" y="2655"/>
                      </a:cubicBezTo>
                      <a:cubicBezTo>
                        <a:pt x="211" y="2655"/>
                        <a:pt x="0" y="2611"/>
                        <a:pt x="12" y="2581"/>
                      </a:cubicBezTo>
                      <a:cubicBezTo>
                        <a:pt x="29" y="2541"/>
                        <a:pt x="79" y="2502"/>
                        <a:pt x="113" y="2475"/>
                      </a:cubicBezTo>
                      <a:cubicBezTo>
                        <a:pt x="148" y="2445"/>
                        <a:pt x="189" y="2396"/>
                        <a:pt x="210" y="2354"/>
                      </a:cubicBezTo>
                      <a:cubicBezTo>
                        <a:pt x="236" y="2303"/>
                        <a:pt x="255" y="1803"/>
                        <a:pt x="252" y="1741"/>
                      </a:cubicBezTo>
                      <a:cubicBezTo>
                        <a:pt x="251" y="1710"/>
                        <a:pt x="264" y="1503"/>
                        <a:pt x="270" y="1473"/>
                      </a:cubicBezTo>
                      <a:cubicBezTo>
                        <a:pt x="277" y="1436"/>
                        <a:pt x="286" y="1414"/>
                        <a:pt x="283" y="1380"/>
                      </a:cubicBezTo>
                      <a:cubicBezTo>
                        <a:pt x="278" y="1310"/>
                        <a:pt x="329" y="1249"/>
                        <a:pt x="345" y="1184"/>
                      </a:cubicBezTo>
                      <a:cubicBezTo>
                        <a:pt x="354" y="1152"/>
                        <a:pt x="350" y="1112"/>
                        <a:pt x="354" y="1079"/>
                      </a:cubicBezTo>
                      <a:cubicBezTo>
                        <a:pt x="357" y="1041"/>
                        <a:pt x="368" y="1005"/>
                        <a:pt x="372" y="967"/>
                      </a:cubicBezTo>
                      <a:cubicBezTo>
                        <a:pt x="382" y="870"/>
                        <a:pt x="373" y="768"/>
                        <a:pt x="357" y="676"/>
                      </a:cubicBezTo>
                      <a:cubicBezTo>
                        <a:pt x="321" y="456"/>
                        <a:pt x="347" y="227"/>
                        <a:pt x="358" y="8"/>
                      </a:cubicBezTo>
                      <a:cubicBezTo>
                        <a:pt x="506" y="0"/>
                        <a:pt x="644" y="5"/>
                        <a:pt x="778" y="50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7" name="Freeform 270"/>
                <p:cNvSpPr>
                  <a:spLocks/>
                </p:cNvSpPr>
                <p:nvPr/>
              </p:nvSpPr>
              <p:spPr bwMode="gray">
                <a:xfrm>
                  <a:off x="6024113" y="1936429"/>
                  <a:ext cx="306223" cy="515561"/>
                </a:xfrm>
                <a:custGeom>
                  <a:avLst/>
                  <a:gdLst/>
                  <a:ahLst/>
                  <a:cxnLst>
                    <a:cxn ang="0">
                      <a:pos x="136" y="59"/>
                    </a:cxn>
                    <a:cxn ang="0">
                      <a:pos x="84" y="133"/>
                    </a:cxn>
                    <a:cxn ang="0">
                      <a:pos x="53" y="222"/>
                    </a:cxn>
                    <a:cxn ang="0">
                      <a:pos x="12" y="339"/>
                    </a:cxn>
                    <a:cxn ang="0">
                      <a:pos x="3" y="386"/>
                    </a:cxn>
                    <a:cxn ang="0">
                      <a:pos x="46" y="494"/>
                    </a:cxn>
                    <a:cxn ang="0">
                      <a:pos x="96" y="654"/>
                    </a:cxn>
                    <a:cxn ang="0">
                      <a:pos x="136" y="714"/>
                    </a:cxn>
                    <a:cxn ang="0">
                      <a:pos x="142" y="820"/>
                    </a:cxn>
                    <a:cxn ang="0">
                      <a:pos x="260" y="931"/>
                    </a:cxn>
                    <a:cxn ang="0">
                      <a:pos x="377" y="829"/>
                    </a:cxn>
                    <a:cxn ang="0">
                      <a:pos x="429" y="674"/>
                    </a:cxn>
                    <a:cxn ang="0">
                      <a:pos x="471" y="538"/>
                    </a:cxn>
                    <a:cxn ang="0">
                      <a:pos x="534" y="445"/>
                    </a:cxn>
                    <a:cxn ang="0">
                      <a:pos x="560" y="355"/>
                    </a:cxn>
                    <a:cxn ang="0">
                      <a:pos x="514" y="238"/>
                    </a:cxn>
                    <a:cxn ang="0">
                      <a:pos x="436" y="124"/>
                    </a:cxn>
                    <a:cxn ang="0">
                      <a:pos x="322" y="4"/>
                    </a:cxn>
                    <a:cxn ang="0">
                      <a:pos x="179" y="36"/>
                    </a:cxn>
                  </a:cxnLst>
                  <a:rect l="0" t="0" r="r" b="b"/>
                  <a:pathLst>
                    <a:path w="566" h="953">
                      <a:moveTo>
                        <a:pt x="136" y="59"/>
                      </a:moveTo>
                      <a:cubicBezTo>
                        <a:pt x="136" y="88"/>
                        <a:pt x="99" y="110"/>
                        <a:pt x="84" y="133"/>
                      </a:cubicBezTo>
                      <a:cubicBezTo>
                        <a:pt x="65" y="163"/>
                        <a:pt x="62" y="189"/>
                        <a:pt x="53" y="222"/>
                      </a:cubicBezTo>
                      <a:cubicBezTo>
                        <a:pt x="43" y="258"/>
                        <a:pt x="23" y="300"/>
                        <a:pt x="12" y="339"/>
                      </a:cubicBezTo>
                      <a:cubicBezTo>
                        <a:pt x="7" y="356"/>
                        <a:pt x="4" y="368"/>
                        <a:pt x="3" y="386"/>
                      </a:cubicBezTo>
                      <a:cubicBezTo>
                        <a:pt x="0" y="439"/>
                        <a:pt x="30" y="452"/>
                        <a:pt x="46" y="494"/>
                      </a:cubicBezTo>
                      <a:cubicBezTo>
                        <a:pt x="66" y="547"/>
                        <a:pt x="69" y="601"/>
                        <a:pt x="96" y="654"/>
                      </a:cubicBezTo>
                      <a:cubicBezTo>
                        <a:pt x="106" y="675"/>
                        <a:pt x="127" y="692"/>
                        <a:pt x="136" y="714"/>
                      </a:cubicBezTo>
                      <a:cubicBezTo>
                        <a:pt x="148" y="744"/>
                        <a:pt x="137" y="786"/>
                        <a:pt x="142" y="820"/>
                      </a:cubicBezTo>
                      <a:cubicBezTo>
                        <a:pt x="153" y="889"/>
                        <a:pt x="176" y="953"/>
                        <a:pt x="260" y="931"/>
                      </a:cubicBezTo>
                      <a:cubicBezTo>
                        <a:pt x="282" y="880"/>
                        <a:pt x="342" y="868"/>
                        <a:pt x="377" y="829"/>
                      </a:cubicBezTo>
                      <a:cubicBezTo>
                        <a:pt x="417" y="784"/>
                        <a:pt x="421" y="730"/>
                        <a:pt x="429" y="674"/>
                      </a:cubicBezTo>
                      <a:cubicBezTo>
                        <a:pt x="435" y="631"/>
                        <a:pt x="447" y="575"/>
                        <a:pt x="471" y="538"/>
                      </a:cubicBezTo>
                      <a:cubicBezTo>
                        <a:pt x="494" y="502"/>
                        <a:pt x="520" y="487"/>
                        <a:pt x="534" y="445"/>
                      </a:cubicBezTo>
                      <a:cubicBezTo>
                        <a:pt x="544" y="414"/>
                        <a:pt x="557" y="388"/>
                        <a:pt x="560" y="355"/>
                      </a:cubicBezTo>
                      <a:cubicBezTo>
                        <a:pt x="566" y="305"/>
                        <a:pt x="541" y="281"/>
                        <a:pt x="514" y="238"/>
                      </a:cubicBezTo>
                      <a:cubicBezTo>
                        <a:pt x="487" y="197"/>
                        <a:pt x="453" y="170"/>
                        <a:pt x="436" y="124"/>
                      </a:cubicBezTo>
                      <a:cubicBezTo>
                        <a:pt x="413" y="64"/>
                        <a:pt x="396" y="10"/>
                        <a:pt x="322" y="4"/>
                      </a:cubicBezTo>
                      <a:cubicBezTo>
                        <a:pt x="271" y="0"/>
                        <a:pt x="227" y="27"/>
                        <a:pt x="179" y="36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8" name="Freeform 271"/>
                <p:cNvSpPr>
                  <a:spLocks/>
                </p:cNvSpPr>
                <p:nvPr/>
              </p:nvSpPr>
              <p:spPr bwMode="gray">
                <a:xfrm>
                  <a:off x="6143671" y="4234581"/>
                  <a:ext cx="206591" cy="346302"/>
                </a:xfrm>
                <a:custGeom>
                  <a:avLst/>
                  <a:gdLst/>
                  <a:ahLst/>
                  <a:cxnLst>
                    <a:cxn ang="0">
                      <a:pos x="99" y="26"/>
                    </a:cxn>
                    <a:cxn ang="0">
                      <a:pos x="29" y="111"/>
                    </a:cxn>
                    <a:cxn ang="0">
                      <a:pos x="8" y="172"/>
                    </a:cxn>
                    <a:cxn ang="0">
                      <a:pos x="31" y="239"/>
                    </a:cxn>
                    <a:cxn ang="0">
                      <a:pos x="78" y="368"/>
                    </a:cxn>
                    <a:cxn ang="0">
                      <a:pos x="93" y="429"/>
                    </a:cxn>
                    <a:cxn ang="0">
                      <a:pos x="99" y="508"/>
                    </a:cxn>
                    <a:cxn ang="0">
                      <a:pos x="209" y="588"/>
                    </a:cxn>
                    <a:cxn ang="0">
                      <a:pos x="370" y="639"/>
                    </a:cxn>
                    <a:cxn ang="0">
                      <a:pos x="377" y="496"/>
                    </a:cxn>
                    <a:cxn ang="0">
                      <a:pos x="362" y="438"/>
                    </a:cxn>
                    <a:cxn ang="0">
                      <a:pos x="327" y="390"/>
                    </a:cxn>
                    <a:cxn ang="0">
                      <a:pos x="279" y="275"/>
                    </a:cxn>
                    <a:cxn ang="0">
                      <a:pos x="238" y="146"/>
                    </a:cxn>
                    <a:cxn ang="0">
                      <a:pos x="186" y="38"/>
                    </a:cxn>
                    <a:cxn ang="0">
                      <a:pos x="81" y="26"/>
                    </a:cxn>
                  </a:cxnLst>
                  <a:rect l="0" t="0" r="r" b="b"/>
                  <a:pathLst>
                    <a:path w="382" h="640">
                      <a:moveTo>
                        <a:pt x="99" y="26"/>
                      </a:moveTo>
                      <a:cubicBezTo>
                        <a:pt x="49" y="19"/>
                        <a:pt x="36" y="75"/>
                        <a:pt x="29" y="111"/>
                      </a:cubicBezTo>
                      <a:cubicBezTo>
                        <a:pt x="25" y="132"/>
                        <a:pt x="13" y="152"/>
                        <a:pt x="8" y="172"/>
                      </a:cubicBezTo>
                      <a:cubicBezTo>
                        <a:pt x="0" y="203"/>
                        <a:pt x="19" y="212"/>
                        <a:pt x="31" y="239"/>
                      </a:cubicBezTo>
                      <a:cubicBezTo>
                        <a:pt x="49" y="281"/>
                        <a:pt x="70" y="324"/>
                        <a:pt x="78" y="368"/>
                      </a:cubicBezTo>
                      <a:cubicBezTo>
                        <a:pt x="82" y="389"/>
                        <a:pt x="89" y="408"/>
                        <a:pt x="93" y="429"/>
                      </a:cubicBezTo>
                      <a:cubicBezTo>
                        <a:pt x="98" y="453"/>
                        <a:pt x="91" y="484"/>
                        <a:pt x="99" y="508"/>
                      </a:cubicBezTo>
                      <a:cubicBezTo>
                        <a:pt x="113" y="556"/>
                        <a:pt x="168" y="570"/>
                        <a:pt x="209" y="588"/>
                      </a:cubicBezTo>
                      <a:cubicBezTo>
                        <a:pt x="259" y="609"/>
                        <a:pt x="315" y="640"/>
                        <a:pt x="370" y="639"/>
                      </a:cubicBezTo>
                      <a:cubicBezTo>
                        <a:pt x="376" y="592"/>
                        <a:pt x="382" y="545"/>
                        <a:pt x="377" y="496"/>
                      </a:cubicBezTo>
                      <a:cubicBezTo>
                        <a:pt x="375" y="474"/>
                        <a:pt x="372" y="457"/>
                        <a:pt x="362" y="438"/>
                      </a:cubicBezTo>
                      <a:cubicBezTo>
                        <a:pt x="352" y="421"/>
                        <a:pt x="338" y="407"/>
                        <a:pt x="327" y="390"/>
                      </a:cubicBezTo>
                      <a:cubicBezTo>
                        <a:pt x="306" y="355"/>
                        <a:pt x="294" y="313"/>
                        <a:pt x="279" y="275"/>
                      </a:cubicBezTo>
                      <a:cubicBezTo>
                        <a:pt x="263" y="233"/>
                        <a:pt x="245" y="189"/>
                        <a:pt x="238" y="146"/>
                      </a:cubicBezTo>
                      <a:cubicBezTo>
                        <a:pt x="232" y="107"/>
                        <a:pt x="215" y="66"/>
                        <a:pt x="186" y="38"/>
                      </a:cubicBezTo>
                      <a:cubicBezTo>
                        <a:pt x="162" y="15"/>
                        <a:pt x="107" y="0"/>
                        <a:pt x="81" y="26"/>
                      </a:cubicBezTo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9" name="Freeform 272"/>
                <p:cNvSpPr>
                  <a:spLocks/>
                </p:cNvSpPr>
                <p:nvPr/>
              </p:nvSpPr>
              <p:spPr bwMode="gray">
                <a:xfrm>
                  <a:off x="6170697" y="3046568"/>
                  <a:ext cx="254918" cy="1442928"/>
                </a:xfrm>
                <a:custGeom>
                  <a:avLst/>
                  <a:gdLst/>
                  <a:ahLst/>
                  <a:cxnLst>
                    <a:cxn ang="0">
                      <a:pos x="66" y="16"/>
                    </a:cxn>
                    <a:cxn ang="0">
                      <a:pos x="48" y="498"/>
                    </a:cxn>
                    <a:cxn ang="0">
                      <a:pos x="84" y="980"/>
                    </a:cxn>
                    <a:cxn ang="0">
                      <a:pos x="89" y="1181"/>
                    </a:cxn>
                    <a:cxn ang="0">
                      <a:pos x="62" y="1388"/>
                    </a:cxn>
                    <a:cxn ang="0">
                      <a:pos x="66" y="1789"/>
                    </a:cxn>
                    <a:cxn ang="0">
                      <a:pos x="20" y="2297"/>
                    </a:cxn>
                    <a:cxn ang="0">
                      <a:pos x="4" y="2358"/>
                    </a:cxn>
                    <a:cxn ang="0">
                      <a:pos x="48" y="2479"/>
                    </a:cxn>
                    <a:cxn ang="0">
                      <a:pos x="91" y="2636"/>
                    </a:cxn>
                    <a:cxn ang="0">
                      <a:pos x="273" y="2631"/>
                    </a:cxn>
                    <a:cxn ang="0">
                      <a:pos x="201" y="2214"/>
                    </a:cxn>
                    <a:cxn ang="0">
                      <a:pos x="364" y="1357"/>
                    </a:cxn>
                    <a:cxn ang="0">
                      <a:pos x="353" y="1118"/>
                    </a:cxn>
                    <a:cxn ang="0">
                      <a:pos x="407" y="761"/>
                    </a:cxn>
                    <a:cxn ang="0">
                      <a:pos x="434" y="515"/>
                    </a:cxn>
                    <a:cxn ang="0">
                      <a:pos x="407" y="8"/>
                    </a:cxn>
                    <a:cxn ang="0">
                      <a:pos x="66" y="7"/>
                    </a:cxn>
                  </a:cxnLst>
                  <a:rect l="0" t="0" r="r" b="b"/>
                  <a:pathLst>
                    <a:path w="471" h="2667">
                      <a:moveTo>
                        <a:pt x="66" y="16"/>
                      </a:moveTo>
                      <a:cubicBezTo>
                        <a:pt x="97" y="171"/>
                        <a:pt x="48" y="335"/>
                        <a:pt x="48" y="498"/>
                      </a:cubicBezTo>
                      <a:cubicBezTo>
                        <a:pt x="48" y="668"/>
                        <a:pt x="53" y="823"/>
                        <a:pt x="84" y="980"/>
                      </a:cubicBezTo>
                      <a:cubicBezTo>
                        <a:pt x="97" y="1046"/>
                        <a:pt x="92" y="1111"/>
                        <a:pt x="89" y="1181"/>
                      </a:cubicBezTo>
                      <a:cubicBezTo>
                        <a:pt x="85" y="1254"/>
                        <a:pt x="89" y="1324"/>
                        <a:pt x="62" y="1388"/>
                      </a:cubicBezTo>
                      <a:cubicBezTo>
                        <a:pt x="0" y="1540"/>
                        <a:pt x="59" y="1653"/>
                        <a:pt x="66" y="1789"/>
                      </a:cubicBezTo>
                      <a:cubicBezTo>
                        <a:pt x="72" y="1893"/>
                        <a:pt x="35" y="2179"/>
                        <a:pt x="20" y="2297"/>
                      </a:cubicBezTo>
                      <a:cubicBezTo>
                        <a:pt x="19" y="2307"/>
                        <a:pt x="1" y="2333"/>
                        <a:pt x="4" y="2358"/>
                      </a:cubicBezTo>
                      <a:cubicBezTo>
                        <a:pt x="8" y="2405"/>
                        <a:pt x="36" y="2460"/>
                        <a:pt x="48" y="2479"/>
                      </a:cubicBezTo>
                      <a:cubicBezTo>
                        <a:pt x="75" y="2521"/>
                        <a:pt x="52" y="2613"/>
                        <a:pt x="91" y="2636"/>
                      </a:cubicBezTo>
                      <a:cubicBezTo>
                        <a:pt x="144" y="2667"/>
                        <a:pt x="273" y="2631"/>
                        <a:pt x="273" y="2631"/>
                      </a:cubicBezTo>
                      <a:cubicBezTo>
                        <a:pt x="232" y="2565"/>
                        <a:pt x="185" y="2354"/>
                        <a:pt x="201" y="2214"/>
                      </a:cubicBezTo>
                      <a:cubicBezTo>
                        <a:pt x="216" y="2078"/>
                        <a:pt x="371" y="1520"/>
                        <a:pt x="364" y="1357"/>
                      </a:cubicBezTo>
                      <a:cubicBezTo>
                        <a:pt x="359" y="1232"/>
                        <a:pt x="343" y="1241"/>
                        <a:pt x="353" y="1118"/>
                      </a:cubicBezTo>
                      <a:cubicBezTo>
                        <a:pt x="359" y="1043"/>
                        <a:pt x="391" y="831"/>
                        <a:pt x="407" y="761"/>
                      </a:cubicBezTo>
                      <a:cubicBezTo>
                        <a:pt x="426" y="679"/>
                        <a:pt x="434" y="601"/>
                        <a:pt x="434" y="515"/>
                      </a:cubicBezTo>
                      <a:cubicBezTo>
                        <a:pt x="434" y="360"/>
                        <a:pt x="471" y="144"/>
                        <a:pt x="407" y="8"/>
                      </a:cubicBezTo>
                      <a:cubicBezTo>
                        <a:pt x="295" y="0"/>
                        <a:pt x="179" y="7"/>
                        <a:pt x="66" y="7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0" name="Freeform 275"/>
                <p:cNvSpPr>
                  <a:spLocks/>
                </p:cNvSpPr>
                <p:nvPr/>
              </p:nvSpPr>
              <p:spPr bwMode="gray">
                <a:xfrm>
                  <a:off x="5910512" y="2167984"/>
                  <a:ext cx="610841" cy="824988"/>
                </a:xfrm>
                <a:custGeom>
                  <a:avLst/>
                  <a:gdLst/>
                  <a:ahLst/>
                  <a:cxnLst>
                    <a:cxn ang="0">
                      <a:pos x="22" y="1482"/>
                    </a:cxn>
                    <a:cxn ang="0">
                      <a:pos x="50" y="1171"/>
                    </a:cxn>
                    <a:cxn ang="0">
                      <a:pos x="103" y="1012"/>
                    </a:cxn>
                    <a:cxn ang="0">
                      <a:pos x="220" y="880"/>
                    </a:cxn>
                    <a:cxn ang="0">
                      <a:pos x="268" y="712"/>
                    </a:cxn>
                    <a:cxn ang="0">
                      <a:pos x="237" y="502"/>
                    </a:cxn>
                    <a:cxn ang="0">
                      <a:pos x="190" y="437"/>
                    </a:cxn>
                    <a:cxn ang="0">
                      <a:pos x="227" y="56"/>
                    </a:cxn>
                    <a:cxn ang="0">
                      <a:pos x="390" y="296"/>
                    </a:cxn>
                    <a:cxn ang="0">
                      <a:pos x="507" y="220"/>
                    </a:cxn>
                    <a:cxn ang="0">
                      <a:pos x="642" y="179"/>
                    </a:cxn>
                    <a:cxn ang="0">
                      <a:pos x="792" y="489"/>
                    </a:cxn>
                    <a:cxn ang="0">
                      <a:pos x="954" y="897"/>
                    </a:cxn>
                    <a:cxn ang="0">
                      <a:pos x="1032" y="950"/>
                    </a:cxn>
                    <a:cxn ang="0">
                      <a:pos x="1051" y="1086"/>
                    </a:cxn>
                    <a:cxn ang="0">
                      <a:pos x="1111" y="1312"/>
                    </a:cxn>
                    <a:cxn ang="0">
                      <a:pos x="1126" y="1481"/>
                    </a:cxn>
                    <a:cxn ang="0">
                      <a:pos x="870" y="1517"/>
                    </a:cxn>
                    <a:cxn ang="0">
                      <a:pos x="624" y="1499"/>
                    </a:cxn>
                    <a:cxn ang="0">
                      <a:pos x="344" y="1505"/>
                    </a:cxn>
                    <a:cxn ang="0">
                      <a:pos x="222" y="1504"/>
                    </a:cxn>
                    <a:cxn ang="0">
                      <a:pos x="122" y="1395"/>
                    </a:cxn>
                    <a:cxn ang="0">
                      <a:pos x="22" y="1476"/>
                    </a:cxn>
                  </a:cxnLst>
                  <a:rect l="0" t="0" r="r" b="b"/>
                  <a:pathLst>
                    <a:path w="1129" h="1525">
                      <a:moveTo>
                        <a:pt x="22" y="1482"/>
                      </a:moveTo>
                      <a:cubicBezTo>
                        <a:pt x="57" y="1380"/>
                        <a:pt x="0" y="1268"/>
                        <a:pt x="50" y="1171"/>
                      </a:cubicBezTo>
                      <a:cubicBezTo>
                        <a:pt x="78" y="1116"/>
                        <a:pt x="86" y="1070"/>
                        <a:pt x="103" y="1012"/>
                      </a:cubicBezTo>
                      <a:cubicBezTo>
                        <a:pt x="127" y="930"/>
                        <a:pt x="156" y="924"/>
                        <a:pt x="220" y="880"/>
                      </a:cubicBezTo>
                      <a:cubicBezTo>
                        <a:pt x="287" y="833"/>
                        <a:pt x="283" y="799"/>
                        <a:pt x="268" y="712"/>
                      </a:cubicBezTo>
                      <a:cubicBezTo>
                        <a:pt x="256" y="646"/>
                        <a:pt x="263" y="566"/>
                        <a:pt x="237" y="502"/>
                      </a:cubicBezTo>
                      <a:cubicBezTo>
                        <a:pt x="226" y="474"/>
                        <a:pt x="204" y="462"/>
                        <a:pt x="190" y="437"/>
                      </a:cubicBezTo>
                      <a:cubicBezTo>
                        <a:pt x="147" y="359"/>
                        <a:pt x="119" y="106"/>
                        <a:pt x="227" y="56"/>
                      </a:cubicBezTo>
                      <a:cubicBezTo>
                        <a:pt x="346" y="0"/>
                        <a:pt x="336" y="256"/>
                        <a:pt x="390" y="296"/>
                      </a:cubicBezTo>
                      <a:cubicBezTo>
                        <a:pt x="455" y="344"/>
                        <a:pt x="484" y="256"/>
                        <a:pt x="507" y="220"/>
                      </a:cubicBezTo>
                      <a:cubicBezTo>
                        <a:pt x="534" y="178"/>
                        <a:pt x="590" y="161"/>
                        <a:pt x="642" y="179"/>
                      </a:cubicBezTo>
                      <a:cubicBezTo>
                        <a:pt x="769" y="223"/>
                        <a:pt x="784" y="376"/>
                        <a:pt x="792" y="489"/>
                      </a:cubicBezTo>
                      <a:cubicBezTo>
                        <a:pt x="804" y="649"/>
                        <a:pt x="825" y="792"/>
                        <a:pt x="954" y="897"/>
                      </a:cubicBezTo>
                      <a:cubicBezTo>
                        <a:pt x="976" y="915"/>
                        <a:pt x="1018" y="925"/>
                        <a:pt x="1032" y="950"/>
                      </a:cubicBezTo>
                      <a:cubicBezTo>
                        <a:pt x="1050" y="982"/>
                        <a:pt x="1046" y="1048"/>
                        <a:pt x="1051" y="1086"/>
                      </a:cubicBezTo>
                      <a:cubicBezTo>
                        <a:pt x="1060" y="1168"/>
                        <a:pt x="1091" y="1231"/>
                        <a:pt x="1111" y="1312"/>
                      </a:cubicBezTo>
                      <a:cubicBezTo>
                        <a:pt x="1125" y="1367"/>
                        <a:pt x="1129" y="1423"/>
                        <a:pt x="1126" y="1481"/>
                      </a:cubicBezTo>
                      <a:cubicBezTo>
                        <a:pt x="1041" y="1476"/>
                        <a:pt x="952" y="1509"/>
                        <a:pt x="870" y="1517"/>
                      </a:cubicBezTo>
                      <a:cubicBezTo>
                        <a:pt x="789" y="1525"/>
                        <a:pt x="705" y="1503"/>
                        <a:pt x="624" y="1499"/>
                      </a:cubicBezTo>
                      <a:cubicBezTo>
                        <a:pt x="530" y="1496"/>
                        <a:pt x="437" y="1506"/>
                        <a:pt x="344" y="1505"/>
                      </a:cubicBezTo>
                      <a:cubicBezTo>
                        <a:pt x="316" y="1505"/>
                        <a:pt x="244" y="1518"/>
                        <a:pt x="222" y="1504"/>
                      </a:cubicBezTo>
                      <a:cubicBezTo>
                        <a:pt x="164" y="1467"/>
                        <a:pt x="229" y="1376"/>
                        <a:pt x="122" y="1395"/>
                      </a:cubicBezTo>
                      <a:cubicBezTo>
                        <a:pt x="130" y="1436"/>
                        <a:pt x="58" y="1476"/>
                        <a:pt x="22" y="1476"/>
                      </a:cubicBezTo>
                    </a:path>
                  </a:pathLst>
                </a:custGeom>
                <a:solidFill>
                  <a:srgbClr val="99999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1" name="Freeform 276"/>
                <p:cNvSpPr>
                  <a:spLocks/>
                </p:cNvSpPr>
                <p:nvPr/>
              </p:nvSpPr>
              <p:spPr bwMode="gray">
                <a:xfrm>
                  <a:off x="5936393" y="2844100"/>
                  <a:ext cx="580149" cy="892325"/>
                </a:xfrm>
                <a:custGeom>
                  <a:avLst/>
                  <a:gdLst/>
                  <a:ahLst/>
                  <a:cxnLst>
                    <a:cxn ang="0">
                      <a:pos x="49" y="197"/>
                    </a:cxn>
                    <a:cxn ang="0">
                      <a:pos x="5" y="390"/>
                    </a:cxn>
                    <a:cxn ang="0">
                      <a:pos x="15" y="591"/>
                    </a:cxn>
                    <a:cxn ang="0">
                      <a:pos x="40" y="1036"/>
                    </a:cxn>
                    <a:cxn ang="0">
                      <a:pos x="40" y="1450"/>
                    </a:cxn>
                    <a:cxn ang="0">
                      <a:pos x="93" y="1609"/>
                    </a:cxn>
                    <a:cxn ang="0">
                      <a:pos x="338" y="1617"/>
                    </a:cxn>
                    <a:cxn ang="0">
                      <a:pos x="522" y="1555"/>
                    </a:cxn>
                    <a:cxn ang="0">
                      <a:pos x="741" y="1503"/>
                    </a:cxn>
                    <a:cxn ang="0">
                      <a:pos x="917" y="1442"/>
                    </a:cxn>
                    <a:cxn ang="0">
                      <a:pos x="932" y="1343"/>
                    </a:cxn>
                    <a:cxn ang="0">
                      <a:pos x="972" y="1249"/>
                    </a:cxn>
                    <a:cxn ang="0">
                      <a:pos x="1014" y="820"/>
                    </a:cxn>
                    <a:cxn ang="0">
                      <a:pos x="1039" y="379"/>
                    </a:cxn>
                    <a:cxn ang="0">
                      <a:pos x="987" y="100"/>
                    </a:cxn>
                    <a:cxn ang="0">
                      <a:pos x="680" y="21"/>
                    </a:cxn>
                    <a:cxn ang="0">
                      <a:pos x="338" y="30"/>
                    </a:cxn>
                    <a:cxn ang="0">
                      <a:pos x="40" y="109"/>
                    </a:cxn>
                  </a:cxnLst>
                  <a:rect l="0" t="0" r="r" b="b"/>
                  <a:pathLst>
                    <a:path w="1072" h="1649">
                      <a:moveTo>
                        <a:pt x="49" y="197"/>
                      </a:moveTo>
                      <a:cubicBezTo>
                        <a:pt x="49" y="268"/>
                        <a:pt x="9" y="321"/>
                        <a:pt x="5" y="390"/>
                      </a:cubicBezTo>
                      <a:cubicBezTo>
                        <a:pt x="1" y="463"/>
                        <a:pt x="23" y="516"/>
                        <a:pt x="15" y="591"/>
                      </a:cubicBezTo>
                      <a:cubicBezTo>
                        <a:pt x="0" y="742"/>
                        <a:pt x="40" y="880"/>
                        <a:pt x="40" y="1036"/>
                      </a:cubicBezTo>
                      <a:cubicBezTo>
                        <a:pt x="40" y="1175"/>
                        <a:pt x="58" y="1322"/>
                        <a:pt x="40" y="1450"/>
                      </a:cubicBezTo>
                      <a:cubicBezTo>
                        <a:pt x="30" y="1526"/>
                        <a:pt x="4" y="1558"/>
                        <a:pt x="93" y="1609"/>
                      </a:cubicBezTo>
                      <a:cubicBezTo>
                        <a:pt x="163" y="1649"/>
                        <a:pt x="272" y="1628"/>
                        <a:pt x="338" y="1617"/>
                      </a:cubicBezTo>
                      <a:cubicBezTo>
                        <a:pt x="401" y="1607"/>
                        <a:pt x="459" y="1564"/>
                        <a:pt x="522" y="1555"/>
                      </a:cubicBezTo>
                      <a:cubicBezTo>
                        <a:pt x="611" y="1543"/>
                        <a:pt x="669" y="1531"/>
                        <a:pt x="741" y="1503"/>
                      </a:cubicBezTo>
                      <a:cubicBezTo>
                        <a:pt x="801" y="1480"/>
                        <a:pt x="887" y="1491"/>
                        <a:pt x="917" y="1442"/>
                      </a:cubicBezTo>
                      <a:cubicBezTo>
                        <a:pt x="926" y="1426"/>
                        <a:pt x="927" y="1364"/>
                        <a:pt x="932" y="1343"/>
                      </a:cubicBezTo>
                      <a:cubicBezTo>
                        <a:pt x="942" y="1309"/>
                        <a:pt x="962" y="1280"/>
                        <a:pt x="972" y="1249"/>
                      </a:cubicBezTo>
                      <a:cubicBezTo>
                        <a:pt x="1013" y="1120"/>
                        <a:pt x="986" y="953"/>
                        <a:pt x="1014" y="820"/>
                      </a:cubicBezTo>
                      <a:cubicBezTo>
                        <a:pt x="1044" y="674"/>
                        <a:pt x="1047" y="525"/>
                        <a:pt x="1039" y="379"/>
                      </a:cubicBezTo>
                      <a:cubicBezTo>
                        <a:pt x="1035" y="279"/>
                        <a:pt x="1072" y="163"/>
                        <a:pt x="987" y="100"/>
                      </a:cubicBezTo>
                      <a:cubicBezTo>
                        <a:pt x="918" y="49"/>
                        <a:pt x="767" y="37"/>
                        <a:pt x="680" y="21"/>
                      </a:cubicBezTo>
                      <a:cubicBezTo>
                        <a:pt x="564" y="0"/>
                        <a:pt x="454" y="26"/>
                        <a:pt x="338" y="30"/>
                      </a:cubicBezTo>
                      <a:cubicBezTo>
                        <a:pt x="253" y="34"/>
                        <a:pt x="102" y="49"/>
                        <a:pt x="40" y="109"/>
                      </a:cubicBezTo>
                    </a:path>
                  </a:pathLst>
                </a:custGeom>
                <a:solidFill>
                  <a:srgbClr val="0E80A5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2" name="Freeform 277"/>
                <p:cNvSpPr>
                  <a:spLocks/>
                </p:cNvSpPr>
                <p:nvPr/>
              </p:nvSpPr>
              <p:spPr bwMode="gray">
                <a:xfrm>
                  <a:off x="6022968" y="2813410"/>
                  <a:ext cx="286754" cy="116350"/>
                </a:xfrm>
                <a:custGeom>
                  <a:avLst/>
                  <a:gdLst/>
                  <a:ahLst/>
                  <a:cxnLst>
                    <a:cxn ang="0">
                      <a:pos x="35" y="132"/>
                    </a:cxn>
                    <a:cxn ang="0">
                      <a:pos x="251" y="195"/>
                    </a:cxn>
                    <a:cxn ang="0">
                      <a:pos x="252" y="168"/>
                    </a:cxn>
                    <a:cxn ang="0">
                      <a:pos x="345" y="208"/>
                    </a:cxn>
                    <a:cxn ang="0">
                      <a:pos x="462" y="196"/>
                    </a:cxn>
                    <a:cxn ang="0">
                      <a:pos x="526" y="132"/>
                    </a:cxn>
                    <a:cxn ang="0">
                      <a:pos x="440" y="60"/>
                    </a:cxn>
                    <a:cxn ang="0">
                      <a:pos x="221" y="9"/>
                    </a:cxn>
                    <a:cxn ang="0">
                      <a:pos x="0" y="108"/>
                    </a:cxn>
                  </a:cxnLst>
                  <a:rect l="0" t="0" r="r" b="b"/>
                  <a:pathLst>
                    <a:path w="530" h="215">
                      <a:moveTo>
                        <a:pt x="35" y="132"/>
                      </a:moveTo>
                      <a:cubicBezTo>
                        <a:pt x="56" y="196"/>
                        <a:pt x="194" y="198"/>
                        <a:pt x="251" y="195"/>
                      </a:cubicBezTo>
                      <a:cubicBezTo>
                        <a:pt x="250" y="187"/>
                        <a:pt x="253" y="176"/>
                        <a:pt x="252" y="168"/>
                      </a:cubicBezTo>
                      <a:cubicBezTo>
                        <a:pt x="306" y="141"/>
                        <a:pt x="309" y="199"/>
                        <a:pt x="345" y="208"/>
                      </a:cubicBezTo>
                      <a:cubicBezTo>
                        <a:pt x="371" y="215"/>
                        <a:pt x="434" y="201"/>
                        <a:pt x="462" y="196"/>
                      </a:cubicBezTo>
                      <a:cubicBezTo>
                        <a:pt x="500" y="189"/>
                        <a:pt x="530" y="182"/>
                        <a:pt x="526" y="132"/>
                      </a:cubicBezTo>
                      <a:cubicBezTo>
                        <a:pt x="522" y="79"/>
                        <a:pt x="479" y="76"/>
                        <a:pt x="440" y="60"/>
                      </a:cubicBezTo>
                      <a:cubicBezTo>
                        <a:pt x="364" y="31"/>
                        <a:pt x="304" y="16"/>
                        <a:pt x="221" y="9"/>
                      </a:cubicBezTo>
                      <a:cubicBezTo>
                        <a:pt x="115" y="0"/>
                        <a:pt x="78" y="59"/>
                        <a:pt x="0" y="108"/>
                      </a:cubicBezTo>
                    </a:path>
                  </a:pathLst>
                </a:custGeom>
                <a:solidFill>
                  <a:srgbClr val="C0C0C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3" name="Freeform 278"/>
                <p:cNvSpPr>
                  <a:spLocks/>
                </p:cNvSpPr>
                <p:nvPr/>
              </p:nvSpPr>
              <p:spPr bwMode="gray">
                <a:xfrm>
                  <a:off x="5916008" y="2015426"/>
                  <a:ext cx="440895" cy="899197"/>
                </a:xfrm>
                <a:custGeom>
                  <a:avLst/>
                  <a:gdLst/>
                  <a:ahLst/>
                  <a:cxnLst>
                    <a:cxn ang="0">
                      <a:pos x="256" y="0"/>
                    </a:cxn>
                    <a:cxn ang="0">
                      <a:pos x="124" y="102"/>
                    </a:cxn>
                    <a:cxn ang="0">
                      <a:pos x="0" y="191"/>
                    </a:cxn>
                    <a:cxn ang="0">
                      <a:pos x="169" y="149"/>
                    </a:cxn>
                    <a:cxn ang="0">
                      <a:pos x="238" y="254"/>
                    </a:cxn>
                    <a:cxn ang="0">
                      <a:pos x="205" y="535"/>
                    </a:cxn>
                    <a:cxn ang="0">
                      <a:pos x="194" y="880"/>
                    </a:cxn>
                    <a:cxn ang="0">
                      <a:pos x="209" y="1027"/>
                    </a:cxn>
                    <a:cxn ang="0">
                      <a:pos x="213" y="1130"/>
                    </a:cxn>
                    <a:cxn ang="0">
                      <a:pos x="232" y="1246"/>
                    </a:cxn>
                    <a:cxn ang="0">
                      <a:pos x="178" y="1344"/>
                    </a:cxn>
                    <a:cxn ang="0">
                      <a:pos x="198" y="1395"/>
                    </a:cxn>
                    <a:cxn ang="0">
                      <a:pos x="198" y="1467"/>
                    </a:cxn>
                    <a:cxn ang="0">
                      <a:pos x="251" y="1638"/>
                    </a:cxn>
                    <a:cxn ang="0">
                      <a:pos x="338" y="1660"/>
                    </a:cxn>
                    <a:cxn ang="0">
                      <a:pos x="411" y="1585"/>
                    </a:cxn>
                    <a:cxn ang="0">
                      <a:pos x="434" y="1403"/>
                    </a:cxn>
                    <a:cxn ang="0">
                      <a:pos x="454" y="1613"/>
                    </a:cxn>
                    <a:cxn ang="0">
                      <a:pos x="514" y="1660"/>
                    </a:cxn>
                    <a:cxn ang="0">
                      <a:pos x="626" y="1655"/>
                    </a:cxn>
                    <a:cxn ang="0">
                      <a:pos x="615" y="1451"/>
                    </a:cxn>
                    <a:cxn ang="0">
                      <a:pos x="639" y="1083"/>
                    </a:cxn>
                    <a:cxn ang="0">
                      <a:pos x="623" y="546"/>
                    </a:cxn>
                    <a:cxn ang="0">
                      <a:pos x="630" y="346"/>
                    </a:cxn>
                    <a:cxn ang="0">
                      <a:pos x="600" y="215"/>
                    </a:cxn>
                    <a:cxn ang="0">
                      <a:pos x="654" y="176"/>
                    </a:cxn>
                    <a:cxn ang="0">
                      <a:pos x="705" y="202"/>
                    </a:cxn>
                    <a:cxn ang="0">
                      <a:pos x="760" y="225"/>
                    </a:cxn>
                    <a:cxn ang="0">
                      <a:pos x="813" y="265"/>
                    </a:cxn>
                    <a:cxn ang="0">
                      <a:pos x="779" y="202"/>
                    </a:cxn>
                    <a:cxn ang="0">
                      <a:pos x="746" y="129"/>
                    </a:cxn>
                    <a:cxn ang="0">
                      <a:pos x="607" y="23"/>
                    </a:cxn>
                    <a:cxn ang="0">
                      <a:pos x="576" y="191"/>
                    </a:cxn>
                    <a:cxn ang="0">
                      <a:pos x="483" y="316"/>
                    </a:cxn>
                    <a:cxn ang="0">
                      <a:pos x="427" y="480"/>
                    </a:cxn>
                    <a:cxn ang="0">
                      <a:pos x="393" y="654"/>
                    </a:cxn>
                    <a:cxn ang="0">
                      <a:pos x="381" y="479"/>
                    </a:cxn>
                    <a:cxn ang="0">
                      <a:pos x="350" y="331"/>
                    </a:cxn>
                    <a:cxn ang="0">
                      <a:pos x="272" y="187"/>
                    </a:cxn>
                    <a:cxn ang="0">
                      <a:pos x="182" y="78"/>
                    </a:cxn>
                  </a:cxnLst>
                  <a:rect l="0" t="0" r="r" b="b"/>
                  <a:pathLst>
                    <a:path w="815" h="1662">
                      <a:moveTo>
                        <a:pt x="256" y="0"/>
                      </a:moveTo>
                      <a:cubicBezTo>
                        <a:pt x="211" y="40"/>
                        <a:pt x="171" y="69"/>
                        <a:pt x="124" y="102"/>
                      </a:cubicBezTo>
                      <a:cubicBezTo>
                        <a:pt x="87" y="129"/>
                        <a:pt x="50" y="196"/>
                        <a:pt x="0" y="191"/>
                      </a:cubicBezTo>
                      <a:cubicBezTo>
                        <a:pt x="63" y="237"/>
                        <a:pt x="121" y="165"/>
                        <a:pt x="169" y="149"/>
                      </a:cubicBezTo>
                      <a:cubicBezTo>
                        <a:pt x="204" y="186"/>
                        <a:pt x="255" y="201"/>
                        <a:pt x="238" y="254"/>
                      </a:cubicBezTo>
                      <a:cubicBezTo>
                        <a:pt x="209" y="343"/>
                        <a:pt x="205" y="438"/>
                        <a:pt x="205" y="535"/>
                      </a:cubicBezTo>
                      <a:cubicBezTo>
                        <a:pt x="206" y="650"/>
                        <a:pt x="189" y="764"/>
                        <a:pt x="194" y="880"/>
                      </a:cubicBezTo>
                      <a:cubicBezTo>
                        <a:pt x="196" y="931"/>
                        <a:pt x="209" y="976"/>
                        <a:pt x="209" y="1027"/>
                      </a:cubicBezTo>
                      <a:cubicBezTo>
                        <a:pt x="209" y="1062"/>
                        <a:pt x="209" y="1096"/>
                        <a:pt x="213" y="1130"/>
                      </a:cubicBezTo>
                      <a:cubicBezTo>
                        <a:pt x="217" y="1168"/>
                        <a:pt x="234" y="1209"/>
                        <a:pt x="232" y="1246"/>
                      </a:cubicBezTo>
                      <a:cubicBezTo>
                        <a:pt x="212" y="1257"/>
                        <a:pt x="178" y="1320"/>
                        <a:pt x="178" y="1344"/>
                      </a:cubicBezTo>
                      <a:cubicBezTo>
                        <a:pt x="178" y="1362"/>
                        <a:pt x="194" y="1378"/>
                        <a:pt x="198" y="1395"/>
                      </a:cubicBezTo>
                      <a:cubicBezTo>
                        <a:pt x="203" y="1417"/>
                        <a:pt x="196" y="1444"/>
                        <a:pt x="198" y="1467"/>
                      </a:cubicBezTo>
                      <a:cubicBezTo>
                        <a:pt x="200" y="1524"/>
                        <a:pt x="198" y="1610"/>
                        <a:pt x="251" y="1638"/>
                      </a:cubicBezTo>
                      <a:cubicBezTo>
                        <a:pt x="278" y="1652"/>
                        <a:pt x="306" y="1660"/>
                        <a:pt x="338" y="1660"/>
                      </a:cubicBezTo>
                      <a:cubicBezTo>
                        <a:pt x="391" y="1660"/>
                        <a:pt x="400" y="1638"/>
                        <a:pt x="411" y="1585"/>
                      </a:cubicBezTo>
                      <a:cubicBezTo>
                        <a:pt x="423" y="1528"/>
                        <a:pt x="392" y="1448"/>
                        <a:pt x="434" y="1403"/>
                      </a:cubicBezTo>
                      <a:cubicBezTo>
                        <a:pt x="458" y="1464"/>
                        <a:pt x="436" y="1549"/>
                        <a:pt x="454" y="1613"/>
                      </a:cubicBezTo>
                      <a:cubicBezTo>
                        <a:pt x="467" y="1658"/>
                        <a:pt x="471" y="1662"/>
                        <a:pt x="514" y="1660"/>
                      </a:cubicBezTo>
                      <a:cubicBezTo>
                        <a:pt x="550" y="1658"/>
                        <a:pt x="590" y="1654"/>
                        <a:pt x="626" y="1655"/>
                      </a:cubicBezTo>
                      <a:cubicBezTo>
                        <a:pt x="633" y="1591"/>
                        <a:pt x="612" y="1518"/>
                        <a:pt x="615" y="1451"/>
                      </a:cubicBezTo>
                      <a:cubicBezTo>
                        <a:pt x="621" y="1327"/>
                        <a:pt x="650" y="1208"/>
                        <a:pt x="639" y="1083"/>
                      </a:cubicBezTo>
                      <a:cubicBezTo>
                        <a:pt x="623" y="910"/>
                        <a:pt x="596" y="718"/>
                        <a:pt x="623" y="546"/>
                      </a:cubicBezTo>
                      <a:cubicBezTo>
                        <a:pt x="680" y="550"/>
                        <a:pt x="641" y="384"/>
                        <a:pt x="630" y="346"/>
                      </a:cubicBezTo>
                      <a:cubicBezTo>
                        <a:pt x="618" y="305"/>
                        <a:pt x="571" y="247"/>
                        <a:pt x="600" y="215"/>
                      </a:cubicBezTo>
                      <a:cubicBezTo>
                        <a:pt x="608" y="206"/>
                        <a:pt x="646" y="179"/>
                        <a:pt x="654" y="176"/>
                      </a:cubicBezTo>
                      <a:cubicBezTo>
                        <a:pt x="695" y="163"/>
                        <a:pt x="682" y="184"/>
                        <a:pt x="705" y="202"/>
                      </a:cubicBezTo>
                      <a:cubicBezTo>
                        <a:pt x="723" y="216"/>
                        <a:pt x="741" y="215"/>
                        <a:pt x="760" y="225"/>
                      </a:cubicBezTo>
                      <a:cubicBezTo>
                        <a:pt x="779" y="235"/>
                        <a:pt x="792" y="256"/>
                        <a:pt x="813" y="265"/>
                      </a:cubicBezTo>
                      <a:cubicBezTo>
                        <a:pt x="815" y="238"/>
                        <a:pt x="791" y="223"/>
                        <a:pt x="779" y="202"/>
                      </a:cubicBezTo>
                      <a:cubicBezTo>
                        <a:pt x="767" y="180"/>
                        <a:pt x="764" y="150"/>
                        <a:pt x="746" y="129"/>
                      </a:cubicBezTo>
                      <a:cubicBezTo>
                        <a:pt x="708" y="85"/>
                        <a:pt x="641" y="69"/>
                        <a:pt x="607" y="23"/>
                      </a:cubicBezTo>
                      <a:cubicBezTo>
                        <a:pt x="592" y="80"/>
                        <a:pt x="607" y="139"/>
                        <a:pt x="576" y="191"/>
                      </a:cubicBezTo>
                      <a:cubicBezTo>
                        <a:pt x="548" y="236"/>
                        <a:pt x="505" y="268"/>
                        <a:pt x="483" y="316"/>
                      </a:cubicBezTo>
                      <a:cubicBezTo>
                        <a:pt x="459" y="368"/>
                        <a:pt x="446" y="424"/>
                        <a:pt x="427" y="480"/>
                      </a:cubicBezTo>
                      <a:cubicBezTo>
                        <a:pt x="411" y="527"/>
                        <a:pt x="428" y="620"/>
                        <a:pt x="393" y="654"/>
                      </a:cubicBezTo>
                      <a:cubicBezTo>
                        <a:pt x="376" y="608"/>
                        <a:pt x="381" y="529"/>
                        <a:pt x="381" y="479"/>
                      </a:cubicBezTo>
                      <a:cubicBezTo>
                        <a:pt x="380" y="421"/>
                        <a:pt x="381" y="374"/>
                        <a:pt x="350" y="331"/>
                      </a:cubicBezTo>
                      <a:cubicBezTo>
                        <a:pt x="317" y="282"/>
                        <a:pt x="287" y="242"/>
                        <a:pt x="272" y="187"/>
                      </a:cubicBezTo>
                      <a:cubicBezTo>
                        <a:pt x="262" y="153"/>
                        <a:pt x="229" y="68"/>
                        <a:pt x="182" y="78"/>
                      </a:cubicBezTo>
                    </a:path>
                  </a:pathLst>
                </a:custGeom>
                <a:solidFill>
                  <a:srgbClr val="F0F0F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4" name="Freeform 279"/>
                <p:cNvSpPr>
                  <a:spLocks/>
                </p:cNvSpPr>
                <p:nvPr/>
              </p:nvSpPr>
              <p:spPr bwMode="gray">
                <a:xfrm>
                  <a:off x="5767134" y="2733246"/>
                  <a:ext cx="148874" cy="103982"/>
                </a:xfrm>
                <a:custGeom>
                  <a:avLst/>
                  <a:gdLst/>
                  <a:ahLst/>
                  <a:cxnLst>
                    <a:cxn ang="0">
                      <a:pos x="135" y="191"/>
                    </a:cxn>
                    <a:cxn ang="0">
                      <a:pos x="188" y="4"/>
                    </a:cxn>
                    <a:cxn ang="0">
                      <a:pos x="234" y="116"/>
                    </a:cxn>
                    <a:cxn ang="0">
                      <a:pos x="129" y="191"/>
                    </a:cxn>
                  </a:cxnLst>
                  <a:rect l="0" t="0" r="r" b="b"/>
                  <a:pathLst>
                    <a:path w="275" h="192">
                      <a:moveTo>
                        <a:pt x="135" y="191"/>
                      </a:moveTo>
                      <a:cubicBezTo>
                        <a:pt x="0" y="192"/>
                        <a:pt x="88" y="10"/>
                        <a:pt x="188" y="4"/>
                      </a:cubicBezTo>
                      <a:cubicBezTo>
                        <a:pt x="259" y="0"/>
                        <a:pt x="275" y="74"/>
                        <a:pt x="234" y="116"/>
                      </a:cubicBezTo>
                      <a:cubicBezTo>
                        <a:pt x="207" y="143"/>
                        <a:pt x="162" y="165"/>
                        <a:pt x="129" y="191"/>
                      </a:cubicBezTo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5" name="Freeform 280"/>
                <p:cNvSpPr>
                  <a:spLocks/>
                </p:cNvSpPr>
                <p:nvPr/>
              </p:nvSpPr>
              <p:spPr bwMode="gray">
                <a:xfrm>
                  <a:off x="6245363" y="2861965"/>
                  <a:ext cx="260872" cy="184146"/>
                </a:xfrm>
                <a:custGeom>
                  <a:avLst/>
                  <a:gdLst/>
                  <a:ahLst/>
                  <a:cxnLst>
                    <a:cxn ang="0">
                      <a:pos x="460" y="287"/>
                    </a:cxn>
                    <a:cxn ang="0">
                      <a:pos x="232" y="257"/>
                    </a:cxn>
                    <a:cxn ang="0">
                      <a:pos x="11" y="327"/>
                    </a:cxn>
                    <a:cxn ang="0">
                      <a:pos x="15" y="236"/>
                    </a:cxn>
                    <a:cxn ang="0">
                      <a:pos x="0" y="235"/>
                    </a:cxn>
                    <a:cxn ang="0">
                      <a:pos x="482" y="228"/>
                    </a:cxn>
                    <a:cxn ang="0">
                      <a:pos x="466" y="235"/>
                    </a:cxn>
                  </a:cxnLst>
                  <a:rect l="0" t="0" r="r" b="b"/>
                  <a:pathLst>
                    <a:path w="482" h="340">
                      <a:moveTo>
                        <a:pt x="460" y="287"/>
                      </a:moveTo>
                      <a:cubicBezTo>
                        <a:pt x="386" y="340"/>
                        <a:pt x="304" y="274"/>
                        <a:pt x="232" y="257"/>
                      </a:cubicBezTo>
                      <a:cubicBezTo>
                        <a:pt x="132" y="232"/>
                        <a:pt x="95" y="302"/>
                        <a:pt x="11" y="327"/>
                      </a:cubicBezTo>
                      <a:cubicBezTo>
                        <a:pt x="11" y="297"/>
                        <a:pt x="20" y="267"/>
                        <a:pt x="15" y="236"/>
                      </a:cubicBezTo>
                      <a:cubicBezTo>
                        <a:pt x="11" y="235"/>
                        <a:pt x="4" y="236"/>
                        <a:pt x="0" y="235"/>
                      </a:cubicBezTo>
                      <a:cubicBezTo>
                        <a:pt x="109" y="206"/>
                        <a:pt x="473" y="0"/>
                        <a:pt x="482" y="228"/>
                      </a:cubicBezTo>
                      <a:cubicBezTo>
                        <a:pt x="476" y="229"/>
                        <a:pt x="472" y="232"/>
                        <a:pt x="466" y="235"/>
                      </a:cubicBezTo>
                    </a:path>
                  </a:pathLst>
                </a:custGeom>
                <a:solidFill>
                  <a:srgbClr val="56535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6" name="Freeform 281"/>
                <p:cNvSpPr>
                  <a:spLocks/>
                </p:cNvSpPr>
                <p:nvPr/>
              </p:nvSpPr>
              <p:spPr bwMode="gray">
                <a:xfrm>
                  <a:off x="5947386" y="2931821"/>
                  <a:ext cx="158493" cy="132612"/>
                </a:xfrm>
                <a:custGeom>
                  <a:avLst/>
                  <a:gdLst/>
                  <a:ahLst/>
                  <a:cxnLst>
                    <a:cxn ang="0">
                      <a:pos x="0" y="59"/>
                    </a:cxn>
                    <a:cxn ang="0">
                      <a:pos x="98" y="182"/>
                    </a:cxn>
                    <a:cxn ang="0">
                      <a:pos x="293" y="240"/>
                    </a:cxn>
                    <a:cxn ang="0">
                      <a:pos x="227" y="19"/>
                    </a:cxn>
                    <a:cxn ang="0">
                      <a:pos x="75" y="6"/>
                    </a:cxn>
                    <a:cxn ang="0">
                      <a:pos x="0" y="76"/>
                    </a:cxn>
                  </a:cxnLst>
                  <a:rect l="0" t="0" r="r" b="b"/>
                  <a:pathLst>
                    <a:path w="293" h="245">
                      <a:moveTo>
                        <a:pt x="0" y="59"/>
                      </a:moveTo>
                      <a:cubicBezTo>
                        <a:pt x="40" y="113"/>
                        <a:pt x="22" y="156"/>
                        <a:pt x="98" y="182"/>
                      </a:cubicBezTo>
                      <a:cubicBezTo>
                        <a:pt x="149" y="199"/>
                        <a:pt x="239" y="245"/>
                        <a:pt x="293" y="240"/>
                      </a:cubicBezTo>
                      <a:cubicBezTo>
                        <a:pt x="214" y="196"/>
                        <a:pt x="232" y="106"/>
                        <a:pt x="227" y="19"/>
                      </a:cubicBezTo>
                      <a:cubicBezTo>
                        <a:pt x="177" y="14"/>
                        <a:pt x="128" y="0"/>
                        <a:pt x="75" y="6"/>
                      </a:cubicBezTo>
                      <a:cubicBezTo>
                        <a:pt x="11" y="14"/>
                        <a:pt x="36" y="33"/>
                        <a:pt x="0" y="76"/>
                      </a:cubicBezTo>
                    </a:path>
                  </a:pathLst>
                </a:custGeom>
                <a:solidFill>
                  <a:srgbClr val="56535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7" name="Freeform 284"/>
                <p:cNvSpPr>
                  <a:spLocks/>
                </p:cNvSpPr>
                <p:nvPr/>
              </p:nvSpPr>
              <p:spPr bwMode="gray">
                <a:xfrm>
                  <a:off x="6442335" y="2861507"/>
                  <a:ext cx="117954" cy="330041"/>
                </a:xfrm>
                <a:custGeom>
                  <a:avLst/>
                  <a:gdLst/>
                  <a:ahLst/>
                  <a:cxnLst>
                    <a:cxn ang="0">
                      <a:pos x="99" y="1"/>
                    </a:cxn>
                    <a:cxn ang="0">
                      <a:pos x="61" y="160"/>
                    </a:cxn>
                    <a:cxn ang="0">
                      <a:pos x="40" y="273"/>
                    </a:cxn>
                    <a:cxn ang="0">
                      <a:pos x="23" y="348"/>
                    </a:cxn>
                    <a:cxn ang="0">
                      <a:pos x="7" y="447"/>
                    </a:cxn>
                    <a:cxn ang="0">
                      <a:pos x="79" y="361"/>
                    </a:cxn>
                    <a:cxn ang="0">
                      <a:pos x="56" y="501"/>
                    </a:cxn>
                    <a:cxn ang="0">
                      <a:pos x="48" y="556"/>
                    </a:cxn>
                    <a:cxn ang="0">
                      <a:pos x="58" y="610"/>
                    </a:cxn>
                    <a:cxn ang="0">
                      <a:pos x="109" y="467"/>
                    </a:cxn>
                    <a:cxn ang="0">
                      <a:pos x="109" y="594"/>
                    </a:cxn>
                    <a:cxn ang="0">
                      <a:pos x="147" y="493"/>
                    </a:cxn>
                    <a:cxn ang="0">
                      <a:pos x="155" y="570"/>
                    </a:cxn>
                    <a:cxn ang="0">
                      <a:pos x="211" y="327"/>
                    </a:cxn>
                    <a:cxn ang="0">
                      <a:pos x="206" y="178"/>
                    </a:cxn>
                    <a:cxn ang="0">
                      <a:pos x="208" y="124"/>
                    </a:cxn>
                    <a:cxn ang="0">
                      <a:pos x="201" y="89"/>
                    </a:cxn>
                    <a:cxn ang="0">
                      <a:pos x="191" y="35"/>
                    </a:cxn>
                    <a:cxn ang="0">
                      <a:pos x="100" y="1"/>
                    </a:cxn>
                  </a:cxnLst>
                  <a:rect l="0" t="0" r="r" b="b"/>
                  <a:pathLst>
                    <a:path w="218" h="610">
                      <a:moveTo>
                        <a:pt x="99" y="1"/>
                      </a:moveTo>
                      <a:cubicBezTo>
                        <a:pt x="91" y="55"/>
                        <a:pt x="75" y="107"/>
                        <a:pt x="61" y="160"/>
                      </a:cubicBezTo>
                      <a:cubicBezTo>
                        <a:pt x="51" y="197"/>
                        <a:pt x="46" y="235"/>
                        <a:pt x="40" y="273"/>
                      </a:cubicBezTo>
                      <a:cubicBezTo>
                        <a:pt x="36" y="298"/>
                        <a:pt x="27" y="323"/>
                        <a:pt x="23" y="348"/>
                      </a:cubicBezTo>
                      <a:cubicBezTo>
                        <a:pt x="21" y="356"/>
                        <a:pt x="0" y="440"/>
                        <a:pt x="7" y="447"/>
                      </a:cubicBezTo>
                      <a:cubicBezTo>
                        <a:pt x="37" y="449"/>
                        <a:pt x="71" y="360"/>
                        <a:pt x="79" y="361"/>
                      </a:cubicBezTo>
                      <a:cubicBezTo>
                        <a:pt x="83" y="379"/>
                        <a:pt x="59" y="484"/>
                        <a:pt x="56" y="501"/>
                      </a:cubicBezTo>
                      <a:cubicBezTo>
                        <a:pt x="53" y="519"/>
                        <a:pt x="50" y="538"/>
                        <a:pt x="48" y="556"/>
                      </a:cubicBezTo>
                      <a:cubicBezTo>
                        <a:pt x="46" y="571"/>
                        <a:pt x="36" y="609"/>
                        <a:pt x="58" y="610"/>
                      </a:cubicBezTo>
                      <a:cubicBezTo>
                        <a:pt x="69" y="610"/>
                        <a:pt x="101" y="480"/>
                        <a:pt x="109" y="467"/>
                      </a:cubicBezTo>
                      <a:cubicBezTo>
                        <a:pt x="115" y="476"/>
                        <a:pt x="96" y="592"/>
                        <a:pt x="109" y="594"/>
                      </a:cubicBezTo>
                      <a:cubicBezTo>
                        <a:pt x="130" y="596"/>
                        <a:pt x="143" y="502"/>
                        <a:pt x="147" y="493"/>
                      </a:cubicBezTo>
                      <a:cubicBezTo>
                        <a:pt x="147" y="495"/>
                        <a:pt x="141" y="559"/>
                        <a:pt x="155" y="570"/>
                      </a:cubicBezTo>
                      <a:cubicBezTo>
                        <a:pt x="172" y="569"/>
                        <a:pt x="218" y="396"/>
                        <a:pt x="211" y="327"/>
                      </a:cubicBezTo>
                      <a:cubicBezTo>
                        <a:pt x="205" y="276"/>
                        <a:pt x="204" y="228"/>
                        <a:pt x="206" y="178"/>
                      </a:cubicBezTo>
                      <a:cubicBezTo>
                        <a:pt x="207" y="161"/>
                        <a:pt x="209" y="142"/>
                        <a:pt x="208" y="124"/>
                      </a:cubicBezTo>
                      <a:cubicBezTo>
                        <a:pt x="207" y="112"/>
                        <a:pt x="202" y="101"/>
                        <a:pt x="201" y="89"/>
                      </a:cubicBezTo>
                      <a:cubicBezTo>
                        <a:pt x="199" y="74"/>
                        <a:pt x="200" y="49"/>
                        <a:pt x="191" y="35"/>
                      </a:cubicBezTo>
                      <a:cubicBezTo>
                        <a:pt x="173" y="9"/>
                        <a:pt x="130" y="0"/>
                        <a:pt x="100" y="1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8" name="Freeform 285"/>
                <p:cNvSpPr>
                  <a:spLocks/>
                </p:cNvSpPr>
                <p:nvPr/>
              </p:nvSpPr>
              <p:spPr bwMode="gray">
                <a:xfrm>
                  <a:off x="6063050" y="1741520"/>
                  <a:ext cx="228808" cy="324773"/>
                </a:xfrm>
                <a:custGeom>
                  <a:avLst/>
                  <a:gdLst/>
                  <a:ahLst/>
                  <a:cxnLst>
                    <a:cxn ang="0">
                      <a:pos x="6" y="213"/>
                    </a:cxn>
                    <a:cxn ang="0">
                      <a:pos x="35" y="379"/>
                    </a:cxn>
                    <a:cxn ang="0">
                      <a:pos x="76" y="526"/>
                    </a:cxn>
                    <a:cxn ang="0">
                      <a:pos x="199" y="599"/>
                    </a:cxn>
                    <a:cxn ang="0">
                      <a:pos x="330" y="527"/>
                    </a:cxn>
                    <a:cxn ang="0">
                      <a:pos x="374" y="392"/>
                    </a:cxn>
                    <a:cxn ang="0">
                      <a:pos x="329" y="70"/>
                    </a:cxn>
                    <a:cxn ang="0">
                      <a:pos x="158" y="0"/>
                    </a:cxn>
                    <a:cxn ang="0">
                      <a:pos x="0" y="85"/>
                    </a:cxn>
                  </a:cxnLst>
                  <a:rect l="0" t="0" r="r" b="b"/>
                  <a:pathLst>
                    <a:path w="423" h="600">
                      <a:moveTo>
                        <a:pt x="6" y="213"/>
                      </a:moveTo>
                      <a:cubicBezTo>
                        <a:pt x="0" y="277"/>
                        <a:pt x="15" y="323"/>
                        <a:pt x="35" y="379"/>
                      </a:cubicBezTo>
                      <a:cubicBezTo>
                        <a:pt x="53" y="428"/>
                        <a:pt x="42" y="480"/>
                        <a:pt x="76" y="526"/>
                      </a:cubicBezTo>
                      <a:cubicBezTo>
                        <a:pt x="102" y="561"/>
                        <a:pt x="152" y="597"/>
                        <a:pt x="199" y="599"/>
                      </a:cubicBezTo>
                      <a:cubicBezTo>
                        <a:pt x="244" y="600"/>
                        <a:pt x="305" y="565"/>
                        <a:pt x="330" y="527"/>
                      </a:cubicBezTo>
                      <a:cubicBezTo>
                        <a:pt x="356" y="487"/>
                        <a:pt x="352" y="434"/>
                        <a:pt x="374" y="392"/>
                      </a:cubicBezTo>
                      <a:cubicBezTo>
                        <a:pt x="423" y="295"/>
                        <a:pt x="402" y="146"/>
                        <a:pt x="329" y="70"/>
                      </a:cubicBezTo>
                      <a:cubicBezTo>
                        <a:pt x="281" y="20"/>
                        <a:pt x="227" y="0"/>
                        <a:pt x="158" y="0"/>
                      </a:cubicBezTo>
                      <a:cubicBezTo>
                        <a:pt x="115" y="0"/>
                        <a:pt x="3" y="73"/>
                        <a:pt x="0" y="85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9" name="Freeform 286"/>
                <p:cNvSpPr>
                  <a:spLocks/>
                </p:cNvSpPr>
                <p:nvPr/>
              </p:nvSpPr>
              <p:spPr bwMode="gray">
                <a:xfrm>
                  <a:off x="6047476" y="1637952"/>
                  <a:ext cx="259041" cy="367832"/>
                </a:xfrm>
                <a:custGeom>
                  <a:avLst/>
                  <a:gdLst/>
                  <a:ahLst/>
                  <a:cxnLst>
                    <a:cxn ang="0">
                      <a:pos x="7" y="242"/>
                    </a:cxn>
                    <a:cxn ang="0">
                      <a:pos x="39" y="429"/>
                    </a:cxn>
                    <a:cxn ang="0">
                      <a:pos x="86" y="596"/>
                    </a:cxn>
                    <a:cxn ang="0">
                      <a:pos x="225" y="678"/>
                    </a:cxn>
                    <a:cxn ang="0">
                      <a:pos x="373" y="597"/>
                    </a:cxn>
                    <a:cxn ang="0">
                      <a:pos x="423" y="444"/>
                    </a:cxn>
                    <a:cxn ang="0">
                      <a:pos x="372" y="79"/>
                    </a:cxn>
                    <a:cxn ang="0">
                      <a:pos x="178" y="0"/>
                    </a:cxn>
                    <a:cxn ang="0">
                      <a:pos x="0" y="97"/>
                    </a:cxn>
                  </a:cxnLst>
                  <a:rect l="0" t="0" r="r" b="b"/>
                  <a:pathLst>
                    <a:path w="479" h="680">
                      <a:moveTo>
                        <a:pt x="7" y="242"/>
                      </a:moveTo>
                      <a:cubicBezTo>
                        <a:pt x="0" y="314"/>
                        <a:pt x="16" y="366"/>
                        <a:pt x="39" y="429"/>
                      </a:cubicBezTo>
                      <a:cubicBezTo>
                        <a:pt x="59" y="485"/>
                        <a:pt x="47" y="544"/>
                        <a:pt x="86" y="596"/>
                      </a:cubicBezTo>
                      <a:cubicBezTo>
                        <a:pt x="115" y="635"/>
                        <a:pt x="172" y="677"/>
                        <a:pt x="225" y="678"/>
                      </a:cubicBezTo>
                      <a:cubicBezTo>
                        <a:pt x="276" y="680"/>
                        <a:pt x="346" y="640"/>
                        <a:pt x="373" y="597"/>
                      </a:cubicBezTo>
                      <a:cubicBezTo>
                        <a:pt x="403" y="552"/>
                        <a:pt x="398" y="492"/>
                        <a:pt x="423" y="444"/>
                      </a:cubicBezTo>
                      <a:cubicBezTo>
                        <a:pt x="479" y="334"/>
                        <a:pt x="455" y="166"/>
                        <a:pt x="372" y="79"/>
                      </a:cubicBezTo>
                      <a:cubicBezTo>
                        <a:pt x="318" y="23"/>
                        <a:pt x="257" y="0"/>
                        <a:pt x="178" y="0"/>
                      </a:cubicBezTo>
                      <a:cubicBezTo>
                        <a:pt x="130" y="0"/>
                        <a:pt x="3" y="83"/>
                        <a:pt x="0" y="97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30" name="Freeform 290"/>
                <p:cNvSpPr>
                  <a:spLocks/>
                </p:cNvSpPr>
                <p:nvPr/>
              </p:nvSpPr>
              <p:spPr bwMode="gray">
                <a:xfrm>
                  <a:off x="6215589" y="2072706"/>
                  <a:ext cx="132612" cy="127573"/>
                </a:xfrm>
                <a:custGeom>
                  <a:avLst/>
                  <a:gdLst/>
                  <a:ahLst/>
                  <a:cxnLst>
                    <a:cxn ang="0">
                      <a:pos x="123" y="39"/>
                    </a:cxn>
                    <a:cxn ang="0">
                      <a:pos x="6" y="236"/>
                    </a:cxn>
                    <a:cxn ang="0">
                      <a:pos x="166" y="139"/>
                    </a:cxn>
                    <a:cxn ang="0">
                      <a:pos x="77" y="69"/>
                    </a:cxn>
                  </a:cxnLst>
                  <a:rect l="0" t="0" r="r" b="b"/>
                  <a:pathLst>
                    <a:path w="245" h="236">
                      <a:moveTo>
                        <a:pt x="123" y="39"/>
                      </a:moveTo>
                      <a:cubicBezTo>
                        <a:pt x="55" y="75"/>
                        <a:pt x="0" y="158"/>
                        <a:pt x="6" y="236"/>
                      </a:cubicBezTo>
                      <a:cubicBezTo>
                        <a:pt x="33" y="141"/>
                        <a:pt x="109" y="197"/>
                        <a:pt x="166" y="139"/>
                      </a:cubicBezTo>
                      <a:cubicBezTo>
                        <a:pt x="245" y="58"/>
                        <a:pt x="100" y="0"/>
                        <a:pt x="77" y="69"/>
                      </a:cubicBezTo>
                    </a:path>
                  </a:pathLst>
                </a:custGeom>
                <a:solidFill>
                  <a:srgbClr val="808080">
                    <a:lumMod val="75000"/>
                  </a:srgb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31" name="Freeform 291"/>
                <p:cNvSpPr>
                  <a:spLocks/>
                </p:cNvSpPr>
                <p:nvPr/>
              </p:nvSpPr>
              <p:spPr bwMode="gray">
                <a:xfrm>
                  <a:off x="6464551" y="2889678"/>
                  <a:ext cx="94593" cy="116809"/>
                </a:xfrm>
                <a:custGeom>
                  <a:avLst/>
                  <a:gdLst/>
                  <a:ahLst/>
                  <a:cxnLst>
                    <a:cxn ang="0">
                      <a:pos x="172" y="35"/>
                    </a:cxn>
                    <a:cxn ang="0">
                      <a:pos x="143" y="88"/>
                    </a:cxn>
                    <a:cxn ang="0">
                      <a:pos x="87" y="125"/>
                    </a:cxn>
                    <a:cxn ang="0">
                      <a:pos x="43" y="172"/>
                    </a:cxn>
                    <a:cxn ang="0">
                      <a:pos x="1" y="216"/>
                    </a:cxn>
                    <a:cxn ang="0">
                      <a:pos x="9" y="154"/>
                    </a:cxn>
                    <a:cxn ang="0">
                      <a:pos x="39" y="100"/>
                    </a:cxn>
                    <a:cxn ang="0">
                      <a:pos x="55" y="65"/>
                    </a:cxn>
                    <a:cxn ang="0">
                      <a:pos x="119" y="20"/>
                    </a:cxn>
                    <a:cxn ang="0">
                      <a:pos x="158" y="13"/>
                    </a:cxn>
                    <a:cxn ang="0">
                      <a:pos x="175" y="33"/>
                    </a:cxn>
                    <a:cxn ang="0">
                      <a:pos x="169" y="33"/>
                    </a:cxn>
                  </a:cxnLst>
                  <a:rect l="0" t="0" r="r" b="b"/>
                  <a:pathLst>
                    <a:path w="175" h="216">
                      <a:moveTo>
                        <a:pt x="172" y="35"/>
                      </a:moveTo>
                      <a:cubicBezTo>
                        <a:pt x="174" y="49"/>
                        <a:pt x="152" y="77"/>
                        <a:pt x="143" y="88"/>
                      </a:cubicBezTo>
                      <a:cubicBezTo>
                        <a:pt x="128" y="106"/>
                        <a:pt x="103" y="110"/>
                        <a:pt x="87" y="125"/>
                      </a:cubicBezTo>
                      <a:cubicBezTo>
                        <a:pt x="70" y="141"/>
                        <a:pt x="57" y="153"/>
                        <a:pt x="43" y="172"/>
                      </a:cubicBezTo>
                      <a:cubicBezTo>
                        <a:pt x="30" y="188"/>
                        <a:pt x="19" y="207"/>
                        <a:pt x="1" y="216"/>
                      </a:cubicBezTo>
                      <a:cubicBezTo>
                        <a:pt x="0" y="196"/>
                        <a:pt x="6" y="174"/>
                        <a:pt x="9" y="154"/>
                      </a:cubicBezTo>
                      <a:cubicBezTo>
                        <a:pt x="12" y="132"/>
                        <a:pt x="30" y="120"/>
                        <a:pt x="39" y="100"/>
                      </a:cubicBezTo>
                      <a:cubicBezTo>
                        <a:pt x="45" y="88"/>
                        <a:pt x="48" y="76"/>
                        <a:pt x="55" y="65"/>
                      </a:cubicBezTo>
                      <a:cubicBezTo>
                        <a:pt x="71" y="41"/>
                        <a:pt x="95" y="34"/>
                        <a:pt x="119" y="20"/>
                      </a:cubicBezTo>
                      <a:cubicBezTo>
                        <a:pt x="135" y="10"/>
                        <a:pt x="141" y="0"/>
                        <a:pt x="158" y="13"/>
                      </a:cubicBezTo>
                      <a:cubicBezTo>
                        <a:pt x="164" y="18"/>
                        <a:pt x="168" y="29"/>
                        <a:pt x="175" y="33"/>
                      </a:cubicBezTo>
                      <a:cubicBezTo>
                        <a:pt x="173" y="33"/>
                        <a:pt x="171" y="33"/>
                        <a:pt x="169" y="33"/>
                      </a:cubicBezTo>
                    </a:path>
                  </a:pathLst>
                </a:custGeom>
                <a:solidFill>
                  <a:srgbClr val="CEBEB6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32" name="Freeform 292"/>
                <p:cNvSpPr>
                  <a:spLocks/>
                </p:cNvSpPr>
                <p:nvPr/>
              </p:nvSpPr>
              <p:spPr bwMode="gray">
                <a:xfrm>
                  <a:off x="5596731" y="2002850"/>
                  <a:ext cx="979819" cy="1039367"/>
                </a:xfrm>
                <a:custGeom>
                  <a:avLst/>
                  <a:gdLst/>
                  <a:ahLst/>
                  <a:cxnLst>
                    <a:cxn ang="0">
                      <a:pos x="1156" y="1557"/>
                    </a:cxn>
                    <a:cxn ang="0">
                      <a:pos x="1157" y="1117"/>
                    </a:cxn>
                    <a:cxn ang="0">
                      <a:pos x="1207" y="345"/>
                    </a:cxn>
                    <a:cxn ang="0">
                      <a:pos x="1346" y="124"/>
                    </a:cxn>
                    <a:cxn ang="0">
                      <a:pos x="1642" y="268"/>
                    </a:cxn>
                    <a:cxn ang="0">
                      <a:pos x="1689" y="578"/>
                    </a:cxn>
                    <a:cxn ang="0">
                      <a:pos x="1731" y="1101"/>
                    </a:cxn>
                    <a:cxn ang="0">
                      <a:pos x="1767" y="1289"/>
                    </a:cxn>
                    <a:cxn ang="0">
                      <a:pos x="1788" y="1685"/>
                    </a:cxn>
                    <a:cxn ang="0">
                      <a:pos x="1359" y="1806"/>
                    </a:cxn>
                    <a:cxn ang="0">
                      <a:pos x="993" y="1908"/>
                    </a:cxn>
                    <a:cxn ang="0">
                      <a:pos x="575" y="1568"/>
                    </a:cxn>
                    <a:cxn ang="0">
                      <a:pos x="611" y="1378"/>
                    </a:cxn>
                    <a:cxn ang="0">
                      <a:pos x="603" y="1284"/>
                    </a:cxn>
                    <a:cxn ang="0">
                      <a:pos x="618" y="1144"/>
                    </a:cxn>
                    <a:cxn ang="0">
                      <a:pos x="559" y="922"/>
                    </a:cxn>
                    <a:cxn ang="0">
                      <a:pos x="493" y="703"/>
                    </a:cxn>
                    <a:cxn ang="0">
                      <a:pos x="412" y="759"/>
                    </a:cxn>
                    <a:cxn ang="0">
                      <a:pos x="330" y="915"/>
                    </a:cxn>
                    <a:cxn ang="0">
                      <a:pos x="345" y="1062"/>
                    </a:cxn>
                    <a:cxn ang="0">
                      <a:pos x="472" y="1291"/>
                    </a:cxn>
                    <a:cxn ang="0">
                      <a:pos x="571" y="1381"/>
                    </a:cxn>
                    <a:cxn ang="0">
                      <a:pos x="487" y="1410"/>
                    </a:cxn>
                    <a:cxn ang="0">
                      <a:pos x="480" y="1558"/>
                    </a:cxn>
                    <a:cxn ang="0">
                      <a:pos x="282" y="1383"/>
                    </a:cxn>
                    <a:cxn ang="0">
                      <a:pos x="143" y="1207"/>
                    </a:cxn>
                    <a:cxn ang="0">
                      <a:pos x="79" y="1097"/>
                    </a:cxn>
                    <a:cxn ang="0">
                      <a:pos x="100" y="755"/>
                    </a:cxn>
                    <a:cxn ang="0">
                      <a:pos x="276" y="475"/>
                    </a:cxn>
                    <a:cxn ang="0">
                      <a:pos x="384" y="353"/>
                    </a:cxn>
                    <a:cxn ang="0">
                      <a:pos x="477" y="185"/>
                    </a:cxn>
                    <a:cxn ang="0">
                      <a:pos x="741" y="87"/>
                    </a:cxn>
                    <a:cxn ang="0">
                      <a:pos x="851" y="189"/>
                    </a:cxn>
                    <a:cxn ang="0">
                      <a:pos x="817" y="548"/>
                    </a:cxn>
                    <a:cxn ang="0">
                      <a:pos x="848" y="856"/>
                    </a:cxn>
                    <a:cxn ang="0">
                      <a:pos x="898" y="1421"/>
                    </a:cxn>
                    <a:cxn ang="0">
                      <a:pos x="993" y="1908"/>
                    </a:cxn>
                  </a:cxnLst>
                  <a:rect l="0" t="0" r="r" b="b"/>
                  <a:pathLst>
                    <a:path w="1811" h="1921">
                      <a:moveTo>
                        <a:pt x="1143" y="1908"/>
                      </a:moveTo>
                      <a:cubicBezTo>
                        <a:pt x="1187" y="1827"/>
                        <a:pt x="1155" y="1642"/>
                        <a:pt x="1156" y="1557"/>
                      </a:cubicBezTo>
                      <a:cubicBezTo>
                        <a:pt x="1156" y="1504"/>
                        <a:pt x="1169" y="1457"/>
                        <a:pt x="1171" y="1405"/>
                      </a:cubicBezTo>
                      <a:cubicBezTo>
                        <a:pt x="1176" y="1314"/>
                        <a:pt x="1164" y="1210"/>
                        <a:pt x="1157" y="1117"/>
                      </a:cubicBezTo>
                      <a:cubicBezTo>
                        <a:pt x="1144" y="955"/>
                        <a:pt x="1127" y="801"/>
                        <a:pt x="1151" y="642"/>
                      </a:cubicBezTo>
                      <a:cubicBezTo>
                        <a:pt x="1166" y="540"/>
                        <a:pt x="1176" y="444"/>
                        <a:pt x="1207" y="345"/>
                      </a:cubicBezTo>
                      <a:cubicBezTo>
                        <a:pt x="1231" y="269"/>
                        <a:pt x="1215" y="188"/>
                        <a:pt x="1232" y="111"/>
                      </a:cubicBezTo>
                      <a:cubicBezTo>
                        <a:pt x="1251" y="26"/>
                        <a:pt x="1303" y="94"/>
                        <a:pt x="1346" y="124"/>
                      </a:cubicBezTo>
                      <a:cubicBezTo>
                        <a:pt x="1380" y="148"/>
                        <a:pt x="1405" y="164"/>
                        <a:pt x="1444" y="185"/>
                      </a:cubicBezTo>
                      <a:cubicBezTo>
                        <a:pt x="1510" y="219"/>
                        <a:pt x="1571" y="248"/>
                        <a:pt x="1642" y="268"/>
                      </a:cubicBezTo>
                      <a:cubicBezTo>
                        <a:pt x="1655" y="321"/>
                        <a:pt x="1645" y="379"/>
                        <a:pt x="1667" y="430"/>
                      </a:cubicBezTo>
                      <a:cubicBezTo>
                        <a:pt x="1689" y="480"/>
                        <a:pt x="1686" y="520"/>
                        <a:pt x="1689" y="578"/>
                      </a:cubicBezTo>
                      <a:cubicBezTo>
                        <a:pt x="1693" y="635"/>
                        <a:pt x="1709" y="688"/>
                        <a:pt x="1709" y="749"/>
                      </a:cubicBezTo>
                      <a:cubicBezTo>
                        <a:pt x="1709" y="805"/>
                        <a:pt x="1723" y="1043"/>
                        <a:pt x="1731" y="1101"/>
                      </a:cubicBezTo>
                      <a:cubicBezTo>
                        <a:pt x="1735" y="1130"/>
                        <a:pt x="1723" y="1157"/>
                        <a:pt x="1737" y="1184"/>
                      </a:cubicBezTo>
                      <a:cubicBezTo>
                        <a:pt x="1755" y="1221"/>
                        <a:pt x="1763" y="1248"/>
                        <a:pt x="1767" y="1289"/>
                      </a:cubicBezTo>
                      <a:cubicBezTo>
                        <a:pt x="1773" y="1343"/>
                        <a:pt x="1758" y="1392"/>
                        <a:pt x="1780" y="1443"/>
                      </a:cubicBezTo>
                      <a:cubicBezTo>
                        <a:pt x="1811" y="1510"/>
                        <a:pt x="1788" y="1606"/>
                        <a:pt x="1788" y="1685"/>
                      </a:cubicBezTo>
                      <a:cubicBezTo>
                        <a:pt x="1788" y="1712"/>
                        <a:pt x="1603" y="1756"/>
                        <a:pt x="1605" y="1823"/>
                      </a:cubicBezTo>
                      <a:cubicBezTo>
                        <a:pt x="1457" y="1829"/>
                        <a:pt x="1505" y="1792"/>
                        <a:pt x="1359" y="1806"/>
                      </a:cubicBezTo>
                      <a:cubicBezTo>
                        <a:pt x="1319" y="1810"/>
                        <a:pt x="1240" y="1879"/>
                        <a:pt x="1143" y="1908"/>
                      </a:cubicBezTo>
                      <a:cubicBezTo>
                        <a:pt x="1097" y="1921"/>
                        <a:pt x="1043" y="1908"/>
                        <a:pt x="993" y="1908"/>
                      </a:cubicBezTo>
                      <a:cubicBezTo>
                        <a:pt x="820" y="1907"/>
                        <a:pt x="643" y="1809"/>
                        <a:pt x="572" y="1806"/>
                      </a:cubicBezTo>
                      <a:cubicBezTo>
                        <a:pt x="567" y="1725"/>
                        <a:pt x="575" y="1645"/>
                        <a:pt x="575" y="1568"/>
                      </a:cubicBezTo>
                      <a:cubicBezTo>
                        <a:pt x="575" y="1529"/>
                        <a:pt x="555" y="1500"/>
                        <a:pt x="559" y="1460"/>
                      </a:cubicBezTo>
                      <a:cubicBezTo>
                        <a:pt x="564" y="1421"/>
                        <a:pt x="591" y="1408"/>
                        <a:pt x="611" y="1378"/>
                      </a:cubicBezTo>
                      <a:cubicBezTo>
                        <a:pt x="620" y="1364"/>
                        <a:pt x="650" y="1313"/>
                        <a:pt x="641" y="1297"/>
                      </a:cubicBezTo>
                      <a:cubicBezTo>
                        <a:pt x="631" y="1281"/>
                        <a:pt x="612" y="1296"/>
                        <a:pt x="603" y="1284"/>
                      </a:cubicBezTo>
                      <a:cubicBezTo>
                        <a:pt x="597" y="1275"/>
                        <a:pt x="602" y="1244"/>
                        <a:pt x="602" y="1234"/>
                      </a:cubicBezTo>
                      <a:cubicBezTo>
                        <a:pt x="604" y="1202"/>
                        <a:pt x="620" y="1177"/>
                        <a:pt x="618" y="1144"/>
                      </a:cubicBezTo>
                      <a:cubicBezTo>
                        <a:pt x="615" y="1108"/>
                        <a:pt x="597" y="1065"/>
                        <a:pt x="586" y="1031"/>
                      </a:cubicBezTo>
                      <a:cubicBezTo>
                        <a:pt x="575" y="996"/>
                        <a:pt x="561" y="963"/>
                        <a:pt x="559" y="922"/>
                      </a:cubicBezTo>
                      <a:cubicBezTo>
                        <a:pt x="557" y="867"/>
                        <a:pt x="557" y="827"/>
                        <a:pt x="539" y="775"/>
                      </a:cubicBezTo>
                      <a:cubicBezTo>
                        <a:pt x="533" y="757"/>
                        <a:pt x="522" y="701"/>
                        <a:pt x="493" y="703"/>
                      </a:cubicBezTo>
                      <a:cubicBezTo>
                        <a:pt x="480" y="704"/>
                        <a:pt x="468" y="733"/>
                        <a:pt x="459" y="740"/>
                      </a:cubicBezTo>
                      <a:cubicBezTo>
                        <a:pt x="446" y="749"/>
                        <a:pt x="427" y="752"/>
                        <a:pt x="412" y="759"/>
                      </a:cubicBezTo>
                      <a:cubicBezTo>
                        <a:pt x="409" y="783"/>
                        <a:pt x="385" y="811"/>
                        <a:pt x="369" y="832"/>
                      </a:cubicBezTo>
                      <a:cubicBezTo>
                        <a:pt x="349" y="860"/>
                        <a:pt x="347" y="887"/>
                        <a:pt x="330" y="915"/>
                      </a:cubicBezTo>
                      <a:cubicBezTo>
                        <a:pt x="314" y="943"/>
                        <a:pt x="284" y="944"/>
                        <a:pt x="297" y="985"/>
                      </a:cubicBezTo>
                      <a:cubicBezTo>
                        <a:pt x="306" y="1013"/>
                        <a:pt x="331" y="1037"/>
                        <a:pt x="345" y="1062"/>
                      </a:cubicBezTo>
                      <a:cubicBezTo>
                        <a:pt x="376" y="1117"/>
                        <a:pt x="387" y="1181"/>
                        <a:pt x="426" y="1230"/>
                      </a:cubicBezTo>
                      <a:cubicBezTo>
                        <a:pt x="442" y="1250"/>
                        <a:pt x="454" y="1272"/>
                        <a:pt x="472" y="1291"/>
                      </a:cubicBezTo>
                      <a:cubicBezTo>
                        <a:pt x="492" y="1314"/>
                        <a:pt x="514" y="1324"/>
                        <a:pt x="537" y="1347"/>
                      </a:cubicBezTo>
                      <a:cubicBezTo>
                        <a:pt x="548" y="1358"/>
                        <a:pt x="562" y="1368"/>
                        <a:pt x="571" y="1381"/>
                      </a:cubicBezTo>
                      <a:cubicBezTo>
                        <a:pt x="546" y="1382"/>
                        <a:pt x="522" y="1371"/>
                        <a:pt x="500" y="1385"/>
                      </a:cubicBezTo>
                      <a:cubicBezTo>
                        <a:pt x="496" y="1387"/>
                        <a:pt x="490" y="1406"/>
                        <a:pt x="487" y="1410"/>
                      </a:cubicBezTo>
                      <a:cubicBezTo>
                        <a:pt x="478" y="1420"/>
                        <a:pt x="460" y="1431"/>
                        <a:pt x="455" y="1445"/>
                      </a:cubicBezTo>
                      <a:cubicBezTo>
                        <a:pt x="445" y="1471"/>
                        <a:pt x="445" y="1555"/>
                        <a:pt x="480" y="1558"/>
                      </a:cubicBezTo>
                      <a:cubicBezTo>
                        <a:pt x="413" y="1576"/>
                        <a:pt x="366" y="1524"/>
                        <a:pt x="330" y="1475"/>
                      </a:cubicBezTo>
                      <a:cubicBezTo>
                        <a:pt x="308" y="1444"/>
                        <a:pt x="298" y="1414"/>
                        <a:pt x="282" y="1383"/>
                      </a:cubicBezTo>
                      <a:cubicBezTo>
                        <a:pt x="266" y="1354"/>
                        <a:pt x="236" y="1333"/>
                        <a:pt x="217" y="1308"/>
                      </a:cubicBezTo>
                      <a:cubicBezTo>
                        <a:pt x="192" y="1273"/>
                        <a:pt x="170" y="1239"/>
                        <a:pt x="143" y="1207"/>
                      </a:cubicBezTo>
                      <a:cubicBezTo>
                        <a:pt x="124" y="1186"/>
                        <a:pt x="113" y="1183"/>
                        <a:pt x="100" y="1158"/>
                      </a:cubicBezTo>
                      <a:cubicBezTo>
                        <a:pt x="91" y="1138"/>
                        <a:pt x="90" y="1117"/>
                        <a:pt x="79" y="1097"/>
                      </a:cubicBezTo>
                      <a:cubicBezTo>
                        <a:pt x="50" y="1043"/>
                        <a:pt x="0" y="1002"/>
                        <a:pt x="6" y="934"/>
                      </a:cubicBezTo>
                      <a:cubicBezTo>
                        <a:pt x="12" y="858"/>
                        <a:pt x="60" y="813"/>
                        <a:pt x="100" y="755"/>
                      </a:cubicBezTo>
                      <a:cubicBezTo>
                        <a:pt x="146" y="688"/>
                        <a:pt x="165" y="616"/>
                        <a:pt x="232" y="564"/>
                      </a:cubicBezTo>
                      <a:cubicBezTo>
                        <a:pt x="271" y="535"/>
                        <a:pt x="257" y="517"/>
                        <a:pt x="276" y="475"/>
                      </a:cubicBezTo>
                      <a:cubicBezTo>
                        <a:pt x="288" y="448"/>
                        <a:pt x="310" y="432"/>
                        <a:pt x="333" y="411"/>
                      </a:cubicBezTo>
                      <a:cubicBezTo>
                        <a:pt x="354" y="391"/>
                        <a:pt x="372" y="386"/>
                        <a:pt x="384" y="353"/>
                      </a:cubicBezTo>
                      <a:cubicBezTo>
                        <a:pt x="395" y="323"/>
                        <a:pt x="404" y="294"/>
                        <a:pt x="418" y="264"/>
                      </a:cubicBezTo>
                      <a:cubicBezTo>
                        <a:pt x="430" y="237"/>
                        <a:pt x="453" y="198"/>
                        <a:pt x="477" y="185"/>
                      </a:cubicBezTo>
                      <a:cubicBezTo>
                        <a:pt x="506" y="171"/>
                        <a:pt x="536" y="183"/>
                        <a:pt x="567" y="178"/>
                      </a:cubicBezTo>
                      <a:cubicBezTo>
                        <a:pt x="633" y="166"/>
                        <a:pt x="686" y="122"/>
                        <a:pt x="741" y="87"/>
                      </a:cubicBezTo>
                      <a:cubicBezTo>
                        <a:pt x="777" y="64"/>
                        <a:pt x="893" y="0"/>
                        <a:pt x="887" y="85"/>
                      </a:cubicBezTo>
                      <a:cubicBezTo>
                        <a:pt x="884" y="118"/>
                        <a:pt x="859" y="155"/>
                        <a:pt x="851" y="189"/>
                      </a:cubicBezTo>
                      <a:cubicBezTo>
                        <a:pt x="842" y="225"/>
                        <a:pt x="840" y="262"/>
                        <a:pt x="836" y="299"/>
                      </a:cubicBezTo>
                      <a:cubicBezTo>
                        <a:pt x="827" y="383"/>
                        <a:pt x="813" y="461"/>
                        <a:pt x="817" y="548"/>
                      </a:cubicBezTo>
                      <a:cubicBezTo>
                        <a:pt x="819" y="607"/>
                        <a:pt x="824" y="667"/>
                        <a:pt x="824" y="728"/>
                      </a:cubicBezTo>
                      <a:cubicBezTo>
                        <a:pt x="825" y="777"/>
                        <a:pt x="840" y="808"/>
                        <a:pt x="848" y="856"/>
                      </a:cubicBezTo>
                      <a:cubicBezTo>
                        <a:pt x="870" y="995"/>
                        <a:pt x="855" y="1139"/>
                        <a:pt x="876" y="1280"/>
                      </a:cubicBezTo>
                      <a:cubicBezTo>
                        <a:pt x="882" y="1324"/>
                        <a:pt x="896" y="1372"/>
                        <a:pt x="898" y="1421"/>
                      </a:cubicBezTo>
                      <a:cubicBezTo>
                        <a:pt x="901" y="1479"/>
                        <a:pt x="897" y="1538"/>
                        <a:pt x="902" y="1596"/>
                      </a:cubicBezTo>
                      <a:cubicBezTo>
                        <a:pt x="910" y="1675"/>
                        <a:pt x="896" y="1821"/>
                        <a:pt x="993" y="1908"/>
                      </a:cubicBezTo>
                    </a:path>
                  </a:pathLst>
                </a:custGeom>
                <a:solidFill>
                  <a:srgbClr val="808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33" name="Freeform 293"/>
                <p:cNvSpPr>
                  <a:spLocks/>
                </p:cNvSpPr>
                <p:nvPr/>
              </p:nvSpPr>
              <p:spPr bwMode="gray">
                <a:xfrm>
                  <a:off x="6258417" y="2079120"/>
                  <a:ext cx="91385" cy="85660"/>
                </a:xfrm>
                <a:custGeom>
                  <a:avLst/>
                  <a:gdLst/>
                  <a:ahLst/>
                  <a:cxnLst>
                    <a:cxn ang="0">
                      <a:pos x="4" y="103"/>
                    </a:cxn>
                    <a:cxn ang="0">
                      <a:pos x="86" y="106"/>
                    </a:cxn>
                    <a:cxn ang="0">
                      <a:pos x="163" y="158"/>
                    </a:cxn>
                    <a:cxn ang="0">
                      <a:pos x="109" y="28"/>
                    </a:cxn>
                    <a:cxn ang="0">
                      <a:pos x="35" y="6"/>
                    </a:cxn>
                    <a:cxn ang="0">
                      <a:pos x="0" y="68"/>
                    </a:cxn>
                  </a:cxnLst>
                  <a:rect l="0" t="0" r="r" b="b"/>
                  <a:pathLst>
                    <a:path w="169" h="158">
                      <a:moveTo>
                        <a:pt x="4" y="103"/>
                      </a:moveTo>
                      <a:cubicBezTo>
                        <a:pt x="49" y="98"/>
                        <a:pt x="42" y="81"/>
                        <a:pt x="86" y="106"/>
                      </a:cubicBezTo>
                      <a:cubicBezTo>
                        <a:pt x="114" y="122"/>
                        <a:pt x="137" y="140"/>
                        <a:pt x="163" y="158"/>
                      </a:cubicBezTo>
                      <a:cubicBezTo>
                        <a:pt x="169" y="119"/>
                        <a:pt x="141" y="50"/>
                        <a:pt x="109" y="28"/>
                      </a:cubicBezTo>
                      <a:cubicBezTo>
                        <a:pt x="98" y="21"/>
                        <a:pt x="47" y="0"/>
                        <a:pt x="35" y="6"/>
                      </a:cubicBezTo>
                      <a:cubicBezTo>
                        <a:pt x="15" y="14"/>
                        <a:pt x="17" y="56"/>
                        <a:pt x="0" y="68"/>
                      </a:cubicBezTo>
                    </a:path>
                  </a:pathLst>
                </a:custGeom>
                <a:solidFill>
                  <a:srgbClr val="99999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34" name="Freeform 294"/>
                <p:cNvSpPr>
                  <a:spLocks/>
                </p:cNvSpPr>
                <p:nvPr/>
              </p:nvSpPr>
              <p:spPr bwMode="gray">
                <a:xfrm>
                  <a:off x="5925628" y="2071103"/>
                  <a:ext cx="125054" cy="67108"/>
                </a:xfrm>
                <a:custGeom>
                  <a:avLst/>
                  <a:gdLst/>
                  <a:ahLst/>
                  <a:cxnLst>
                    <a:cxn ang="0">
                      <a:pos x="65" y="64"/>
                    </a:cxn>
                    <a:cxn ang="0">
                      <a:pos x="0" y="114"/>
                    </a:cxn>
                    <a:cxn ang="0">
                      <a:pos x="108" y="103"/>
                    </a:cxn>
                    <a:cxn ang="0">
                      <a:pos x="191" y="71"/>
                    </a:cxn>
                    <a:cxn ang="0">
                      <a:pos x="225" y="60"/>
                    </a:cxn>
                    <a:cxn ang="0">
                      <a:pos x="209" y="18"/>
                    </a:cxn>
                    <a:cxn ang="0">
                      <a:pos x="112" y="25"/>
                    </a:cxn>
                  </a:cxnLst>
                  <a:rect l="0" t="0" r="r" b="b"/>
                  <a:pathLst>
                    <a:path w="231" h="124">
                      <a:moveTo>
                        <a:pt x="65" y="64"/>
                      </a:moveTo>
                      <a:cubicBezTo>
                        <a:pt x="50" y="98"/>
                        <a:pt x="31" y="101"/>
                        <a:pt x="0" y="114"/>
                      </a:cubicBezTo>
                      <a:cubicBezTo>
                        <a:pt x="37" y="124"/>
                        <a:pt x="75" y="121"/>
                        <a:pt x="108" y="103"/>
                      </a:cubicBezTo>
                      <a:cubicBezTo>
                        <a:pt x="145" y="82"/>
                        <a:pt x="149" y="74"/>
                        <a:pt x="191" y="71"/>
                      </a:cubicBezTo>
                      <a:cubicBezTo>
                        <a:pt x="208" y="69"/>
                        <a:pt x="216" y="84"/>
                        <a:pt x="225" y="60"/>
                      </a:cubicBezTo>
                      <a:cubicBezTo>
                        <a:pt x="231" y="44"/>
                        <a:pt x="219" y="25"/>
                        <a:pt x="209" y="18"/>
                      </a:cubicBezTo>
                      <a:cubicBezTo>
                        <a:pt x="185" y="0"/>
                        <a:pt x="132" y="6"/>
                        <a:pt x="112" y="25"/>
                      </a:cubicBezTo>
                    </a:path>
                  </a:pathLst>
                </a:custGeom>
                <a:solidFill>
                  <a:srgbClr val="99999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35" name="Freeform 295"/>
                <p:cNvSpPr>
                  <a:spLocks/>
                </p:cNvSpPr>
                <p:nvPr/>
              </p:nvSpPr>
              <p:spPr bwMode="gray">
                <a:xfrm>
                  <a:off x="6306515" y="2063544"/>
                  <a:ext cx="176817" cy="119556"/>
                </a:xfrm>
                <a:custGeom>
                  <a:avLst/>
                  <a:gdLst/>
                  <a:ahLst/>
                  <a:cxnLst>
                    <a:cxn ang="0">
                      <a:pos x="55" y="74"/>
                    </a:cxn>
                    <a:cxn ang="0">
                      <a:pos x="128" y="114"/>
                    </a:cxn>
                    <a:cxn ang="0">
                      <a:pos x="183" y="167"/>
                    </a:cxn>
                    <a:cxn ang="0">
                      <a:pos x="164" y="125"/>
                    </a:cxn>
                    <a:cxn ang="0">
                      <a:pos x="327" y="153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27" h="221">
                      <a:moveTo>
                        <a:pt x="55" y="74"/>
                      </a:moveTo>
                      <a:cubicBezTo>
                        <a:pt x="78" y="91"/>
                        <a:pt x="106" y="95"/>
                        <a:pt x="128" y="114"/>
                      </a:cubicBezTo>
                      <a:cubicBezTo>
                        <a:pt x="146" y="131"/>
                        <a:pt x="159" y="161"/>
                        <a:pt x="183" y="167"/>
                      </a:cubicBezTo>
                      <a:cubicBezTo>
                        <a:pt x="178" y="152"/>
                        <a:pt x="167" y="141"/>
                        <a:pt x="164" y="125"/>
                      </a:cubicBezTo>
                      <a:cubicBezTo>
                        <a:pt x="209" y="117"/>
                        <a:pt x="280" y="221"/>
                        <a:pt x="327" y="153"/>
                      </a:cubicBezTo>
                      <a:cubicBezTo>
                        <a:pt x="209" y="137"/>
                        <a:pt x="122" y="16"/>
                        <a:pt x="0" y="0"/>
                      </a:cubicBezTo>
                    </a:path>
                  </a:pathLst>
                </a:custGeom>
                <a:solidFill>
                  <a:srgbClr val="99999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36" name="Freeform 296"/>
                <p:cNvSpPr>
                  <a:spLocks/>
                </p:cNvSpPr>
                <p:nvPr/>
              </p:nvSpPr>
              <p:spPr bwMode="gray">
                <a:xfrm>
                  <a:off x="5927231" y="2003995"/>
                  <a:ext cx="440895" cy="373787"/>
                </a:xfrm>
                <a:custGeom>
                  <a:avLst/>
                  <a:gdLst/>
                  <a:ahLst/>
                  <a:cxnLst>
                    <a:cxn ang="0">
                      <a:pos x="130" y="73"/>
                    </a:cxn>
                    <a:cxn ang="0">
                      <a:pos x="0" y="192"/>
                    </a:cxn>
                    <a:cxn ang="0">
                      <a:pos x="170" y="150"/>
                    </a:cxn>
                    <a:cxn ang="0">
                      <a:pos x="238" y="256"/>
                    </a:cxn>
                    <a:cxn ang="0">
                      <a:pos x="213" y="547"/>
                    </a:cxn>
                    <a:cxn ang="0">
                      <a:pos x="580" y="403"/>
                    </a:cxn>
                    <a:cxn ang="0">
                      <a:pos x="600" y="217"/>
                    </a:cxn>
                    <a:cxn ang="0">
                      <a:pos x="655" y="177"/>
                    </a:cxn>
                    <a:cxn ang="0">
                      <a:pos x="705" y="203"/>
                    </a:cxn>
                    <a:cxn ang="0">
                      <a:pos x="760" y="226"/>
                    </a:cxn>
                    <a:cxn ang="0">
                      <a:pos x="813" y="266"/>
                    </a:cxn>
                    <a:cxn ang="0">
                      <a:pos x="779" y="203"/>
                    </a:cxn>
                    <a:cxn ang="0">
                      <a:pos x="746" y="131"/>
                    </a:cxn>
                    <a:cxn ang="0">
                      <a:pos x="619" y="7"/>
                    </a:cxn>
                    <a:cxn ang="0">
                      <a:pos x="576" y="192"/>
                    </a:cxn>
                    <a:cxn ang="0">
                      <a:pos x="483" y="318"/>
                    </a:cxn>
                    <a:cxn ang="0">
                      <a:pos x="407" y="480"/>
                    </a:cxn>
                    <a:cxn ang="0">
                      <a:pos x="407" y="691"/>
                    </a:cxn>
                    <a:cxn ang="0">
                      <a:pos x="381" y="481"/>
                    </a:cxn>
                    <a:cxn ang="0">
                      <a:pos x="350" y="332"/>
                    </a:cxn>
                    <a:cxn ang="0">
                      <a:pos x="272" y="188"/>
                    </a:cxn>
                    <a:cxn ang="0">
                      <a:pos x="260" y="0"/>
                    </a:cxn>
                  </a:cxnLst>
                  <a:rect l="0" t="0" r="r" b="b"/>
                  <a:pathLst>
                    <a:path w="815" h="691">
                      <a:moveTo>
                        <a:pt x="130" y="73"/>
                      </a:moveTo>
                      <a:cubicBezTo>
                        <a:pt x="93" y="100"/>
                        <a:pt x="50" y="197"/>
                        <a:pt x="0" y="192"/>
                      </a:cubicBezTo>
                      <a:cubicBezTo>
                        <a:pt x="64" y="238"/>
                        <a:pt x="121" y="166"/>
                        <a:pt x="170" y="150"/>
                      </a:cubicBezTo>
                      <a:cubicBezTo>
                        <a:pt x="204" y="188"/>
                        <a:pt x="255" y="202"/>
                        <a:pt x="238" y="256"/>
                      </a:cubicBezTo>
                      <a:cubicBezTo>
                        <a:pt x="209" y="344"/>
                        <a:pt x="213" y="450"/>
                        <a:pt x="213" y="547"/>
                      </a:cubicBezTo>
                      <a:cubicBezTo>
                        <a:pt x="214" y="662"/>
                        <a:pt x="591" y="441"/>
                        <a:pt x="580" y="403"/>
                      </a:cubicBezTo>
                      <a:cubicBezTo>
                        <a:pt x="567" y="362"/>
                        <a:pt x="571" y="248"/>
                        <a:pt x="600" y="217"/>
                      </a:cubicBezTo>
                      <a:cubicBezTo>
                        <a:pt x="609" y="207"/>
                        <a:pt x="646" y="180"/>
                        <a:pt x="655" y="177"/>
                      </a:cubicBezTo>
                      <a:cubicBezTo>
                        <a:pt x="695" y="164"/>
                        <a:pt x="682" y="185"/>
                        <a:pt x="705" y="203"/>
                      </a:cubicBezTo>
                      <a:cubicBezTo>
                        <a:pt x="723" y="217"/>
                        <a:pt x="741" y="217"/>
                        <a:pt x="760" y="226"/>
                      </a:cubicBezTo>
                      <a:cubicBezTo>
                        <a:pt x="779" y="236"/>
                        <a:pt x="792" y="257"/>
                        <a:pt x="813" y="266"/>
                      </a:cubicBezTo>
                      <a:cubicBezTo>
                        <a:pt x="815" y="239"/>
                        <a:pt x="791" y="224"/>
                        <a:pt x="779" y="203"/>
                      </a:cubicBezTo>
                      <a:cubicBezTo>
                        <a:pt x="767" y="182"/>
                        <a:pt x="764" y="151"/>
                        <a:pt x="746" y="131"/>
                      </a:cubicBezTo>
                      <a:cubicBezTo>
                        <a:pt x="708" y="87"/>
                        <a:pt x="652" y="52"/>
                        <a:pt x="619" y="7"/>
                      </a:cubicBezTo>
                      <a:cubicBezTo>
                        <a:pt x="603" y="63"/>
                        <a:pt x="607" y="140"/>
                        <a:pt x="576" y="192"/>
                      </a:cubicBezTo>
                      <a:cubicBezTo>
                        <a:pt x="549" y="237"/>
                        <a:pt x="505" y="270"/>
                        <a:pt x="483" y="318"/>
                      </a:cubicBezTo>
                      <a:cubicBezTo>
                        <a:pt x="459" y="369"/>
                        <a:pt x="425" y="424"/>
                        <a:pt x="407" y="480"/>
                      </a:cubicBezTo>
                      <a:cubicBezTo>
                        <a:pt x="390" y="527"/>
                        <a:pt x="571" y="551"/>
                        <a:pt x="407" y="691"/>
                      </a:cubicBezTo>
                      <a:cubicBezTo>
                        <a:pt x="389" y="645"/>
                        <a:pt x="381" y="530"/>
                        <a:pt x="381" y="481"/>
                      </a:cubicBezTo>
                      <a:cubicBezTo>
                        <a:pt x="380" y="423"/>
                        <a:pt x="381" y="376"/>
                        <a:pt x="350" y="332"/>
                      </a:cubicBezTo>
                      <a:cubicBezTo>
                        <a:pt x="317" y="283"/>
                        <a:pt x="287" y="244"/>
                        <a:pt x="272" y="188"/>
                      </a:cubicBezTo>
                      <a:cubicBezTo>
                        <a:pt x="262" y="154"/>
                        <a:pt x="292" y="7"/>
                        <a:pt x="260" y="0"/>
                      </a:cubicBezTo>
                    </a:path>
                  </a:pathLst>
                </a:custGeom>
                <a:solidFill>
                  <a:srgbClr val="FD9B0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37" name="Freeform 297"/>
                <p:cNvSpPr>
                  <a:spLocks/>
                </p:cNvSpPr>
                <p:nvPr/>
              </p:nvSpPr>
              <p:spPr bwMode="gray">
                <a:xfrm>
                  <a:off x="5968458" y="2005598"/>
                  <a:ext cx="117266" cy="70314"/>
                </a:xfrm>
                <a:custGeom>
                  <a:avLst/>
                  <a:gdLst/>
                  <a:ahLst/>
                  <a:cxnLst>
                    <a:cxn ang="0">
                      <a:pos x="0" y="130"/>
                    </a:cxn>
                    <a:cxn ang="0">
                      <a:pos x="86" y="76"/>
                    </a:cxn>
                    <a:cxn ang="0">
                      <a:pos x="74" y="103"/>
                    </a:cxn>
                    <a:cxn ang="0">
                      <a:pos x="124" y="62"/>
                    </a:cxn>
                    <a:cxn ang="0">
                      <a:pos x="127" y="91"/>
                    </a:cxn>
                    <a:cxn ang="0">
                      <a:pos x="163" y="64"/>
                    </a:cxn>
                    <a:cxn ang="0">
                      <a:pos x="173" y="91"/>
                    </a:cxn>
                    <a:cxn ang="0">
                      <a:pos x="187" y="71"/>
                    </a:cxn>
                    <a:cxn ang="0">
                      <a:pos x="208" y="93"/>
                    </a:cxn>
                    <a:cxn ang="0">
                      <a:pos x="176" y="22"/>
                    </a:cxn>
                    <a:cxn ang="0">
                      <a:pos x="107" y="26"/>
                    </a:cxn>
                    <a:cxn ang="0">
                      <a:pos x="15" y="101"/>
                    </a:cxn>
                  </a:cxnLst>
                  <a:rect l="0" t="0" r="r" b="b"/>
                  <a:pathLst>
                    <a:path w="217" h="130">
                      <a:moveTo>
                        <a:pt x="0" y="130"/>
                      </a:moveTo>
                      <a:cubicBezTo>
                        <a:pt x="23" y="129"/>
                        <a:pt x="76" y="97"/>
                        <a:pt x="86" y="76"/>
                      </a:cubicBezTo>
                      <a:cubicBezTo>
                        <a:pt x="87" y="87"/>
                        <a:pt x="82" y="97"/>
                        <a:pt x="74" y="103"/>
                      </a:cubicBezTo>
                      <a:cubicBezTo>
                        <a:pt x="105" y="108"/>
                        <a:pt x="94" y="54"/>
                        <a:pt x="124" y="62"/>
                      </a:cubicBezTo>
                      <a:cubicBezTo>
                        <a:pt x="128" y="71"/>
                        <a:pt x="126" y="81"/>
                        <a:pt x="127" y="91"/>
                      </a:cubicBezTo>
                      <a:cubicBezTo>
                        <a:pt x="143" y="91"/>
                        <a:pt x="150" y="71"/>
                        <a:pt x="163" y="64"/>
                      </a:cubicBezTo>
                      <a:cubicBezTo>
                        <a:pt x="162" y="74"/>
                        <a:pt x="166" y="85"/>
                        <a:pt x="173" y="91"/>
                      </a:cubicBezTo>
                      <a:cubicBezTo>
                        <a:pt x="176" y="84"/>
                        <a:pt x="180" y="76"/>
                        <a:pt x="187" y="71"/>
                      </a:cubicBezTo>
                      <a:cubicBezTo>
                        <a:pt x="187" y="85"/>
                        <a:pt x="190" y="97"/>
                        <a:pt x="208" y="93"/>
                      </a:cubicBezTo>
                      <a:cubicBezTo>
                        <a:pt x="217" y="68"/>
                        <a:pt x="196" y="37"/>
                        <a:pt x="176" y="22"/>
                      </a:cubicBezTo>
                      <a:cubicBezTo>
                        <a:pt x="149" y="0"/>
                        <a:pt x="132" y="11"/>
                        <a:pt x="107" y="26"/>
                      </a:cubicBezTo>
                      <a:cubicBezTo>
                        <a:pt x="69" y="50"/>
                        <a:pt x="40" y="62"/>
                        <a:pt x="15" y="101"/>
                      </a:cubicBezTo>
                    </a:path>
                  </a:pathLst>
                </a:custGeom>
                <a:solidFill>
                  <a:srgbClr val="808080">
                    <a:lumMod val="75000"/>
                  </a:srgb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38" name="Freeform 298"/>
                <p:cNvSpPr>
                  <a:spLocks/>
                </p:cNvSpPr>
                <p:nvPr/>
              </p:nvSpPr>
              <p:spPr bwMode="gray">
                <a:xfrm>
                  <a:off x="6246966" y="2005598"/>
                  <a:ext cx="106044" cy="115892"/>
                </a:xfrm>
                <a:custGeom>
                  <a:avLst/>
                  <a:gdLst/>
                  <a:ahLst/>
                  <a:cxnLst>
                    <a:cxn ang="0">
                      <a:pos x="11" y="66"/>
                    </a:cxn>
                    <a:cxn ang="0">
                      <a:pos x="9" y="126"/>
                    </a:cxn>
                    <a:cxn ang="0">
                      <a:pos x="40" y="105"/>
                    </a:cxn>
                    <a:cxn ang="0">
                      <a:pos x="69" y="78"/>
                    </a:cxn>
                    <a:cxn ang="0">
                      <a:pos x="142" y="142"/>
                    </a:cxn>
                    <a:cxn ang="0">
                      <a:pos x="196" y="212"/>
                    </a:cxn>
                    <a:cxn ang="0">
                      <a:pos x="165" y="144"/>
                    </a:cxn>
                    <a:cxn ang="0">
                      <a:pos x="124" y="71"/>
                    </a:cxn>
                    <a:cxn ang="0">
                      <a:pos x="54" y="7"/>
                    </a:cxn>
                    <a:cxn ang="0">
                      <a:pos x="3" y="72"/>
                    </a:cxn>
                    <a:cxn ang="0">
                      <a:pos x="13" y="78"/>
                    </a:cxn>
                  </a:cxnLst>
                  <a:rect l="0" t="0" r="r" b="b"/>
                  <a:pathLst>
                    <a:path w="196" h="214">
                      <a:moveTo>
                        <a:pt x="11" y="66"/>
                      </a:moveTo>
                      <a:cubicBezTo>
                        <a:pt x="20" y="73"/>
                        <a:pt x="13" y="114"/>
                        <a:pt x="9" y="126"/>
                      </a:cubicBezTo>
                      <a:cubicBezTo>
                        <a:pt x="20" y="122"/>
                        <a:pt x="31" y="112"/>
                        <a:pt x="40" y="105"/>
                      </a:cubicBezTo>
                      <a:cubicBezTo>
                        <a:pt x="49" y="98"/>
                        <a:pt x="60" y="81"/>
                        <a:pt x="69" y="78"/>
                      </a:cubicBezTo>
                      <a:cubicBezTo>
                        <a:pt x="86" y="109"/>
                        <a:pt x="122" y="118"/>
                        <a:pt x="142" y="142"/>
                      </a:cubicBezTo>
                      <a:cubicBezTo>
                        <a:pt x="155" y="158"/>
                        <a:pt x="171" y="214"/>
                        <a:pt x="196" y="212"/>
                      </a:cubicBezTo>
                      <a:cubicBezTo>
                        <a:pt x="189" y="191"/>
                        <a:pt x="175" y="165"/>
                        <a:pt x="165" y="144"/>
                      </a:cubicBezTo>
                      <a:cubicBezTo>
                        <a:pt x="153" y="120"/>
                        <a:pt x="138" y="95"/>
                        <a:pt x="124" y="71"/>
                      </a:cubicBezTo>
                      <a:cubicBezTo>
                        <a:pt x="108" y="45"/>
                        <a:pt x="85" y="13"/>
                        <a:pt x="54" y="7"/>
                      </a:cubicBezTo>
                      <a:cubicBezTo>
                        <a:pt x="17" y="0"/>
                        <a:pt x="0" y="40"/>
                        <a:pt x="3" y="72"/>
                      </a:cubicBezTo>
                      <a:cubicBezTo>
                        <a:pt x="7" y="73"/>
                        <a:pt x="10" y="77"/>
                        <a:pt x="13" y="78"/>
                      </a:cubicBezTo>
                    </a:path>
                  </a:pathLst>
                </a:custGeom>
                <a:solidFill>
                  <a:srgbClr val="C0C0C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39" name="Freeform 299"/>
                <p:cNvSpPr>
                  <a:spLocks/>
                </p:cNvSpPr>
                <p:nvPr/>
              </p:nvSpPr>
              <p:spPr bwMode="gray">
                <a:xfrm>
                  <a:off x="6029610" y="2096526"/>
                  <a:ext cx="79018" cy="116809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46" y="216"/>
                    </a:cxn>
                    <a:cxn ang="0">
                      <a:pos x="53" y="131"/>
                    </a:cxn>
                    <a:cxn ang="0">
                      <a:pos x="28" y="193"/>
                    </a:cxn>
                  </a:cxnLst>
                  <a:rect l="0" t="0" r="r" b="b"/>
                  <a:pathLst>
                    <a:path w="146" h="216">
                      <a:moveTo>
                        <a:pt x="0" y="0"/>
                      </a:moveTo>
                      <a:cubicBezTo>
                        <a:pt x="40" y="3"/>
                        <a:pt x="144" y="168"/>
                        <a:pt x="146" y="216"/>
                      </a:cubicBezTo>
                      <a:cubicBezTo>
                        <a:pt x="134" y="178"/>
                        <a:pt x="97" y="126"/>
                        <a:pt x="53" y="131"/>
                      </a:cubicBezTo>
                      <a:cubicBezTo>
                        <a:pt x="54" y="153"/>
                        <a:pt x="29" y="170"/>
                        <a:pt x="28" y="193"/>
                      </a:cubicBezTo>
                    </a:path>
                  </a:pathLst>
                </a:custGeom>
                <a:solidFill>
                  <a:srgbClr val="C0C0C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40" name="Freeform 300"/>
                <p:cNvSpPr>
                  <a:spLocks/>
                </p:cNvSpPr>
                <p:nvPr/>
              </p:nvSpPr>
              <p:spPr bwMode="gray">
                <a:xfrm>
                  <a:off x="5880736" y="1613488"/>
                  <a:ext cx="537321" cy="568011"/>
                </a:xfrm>
                <a:custGeom>
                  <a:avLst/>
                  <a:gdLst/>
                  <a:ahLst/>
                  <a:cxnLst>
                    <a:cxn ang="0">
                      <a:pos x="440" y="222"/>
                    </a:cxn>
                    <a:cxn ang="0">
                      <a:pos x="433" y="840"/>
                    </a:cxn>
                    <a:cxn ang="0">
                      <a:pos x="406" y="823"/>
                    </a:cxn>
                    <a:cxn ang="0">
                      <a:pos x="394" y="795"/>
                    </a:cxn>
                    <a:cxn ang="0">
                      <a:pos x="392" y="829"/>
                    </a:cxn>
                    <a:cxn ang="0">
                      <a:pos x="358" y="794"/>
                    </a:cxn>
                    <a:cxn ang="0">
                      <a:pos x="346" y="807"/>
                    </a:cxn>
                    <a:cxn ang="0">
                      <a:pos x="318" y="754"/>
                    </a:cxn>
                    <a:cxn ang="0">
                      <a:pos x="277" y="805"/>
                    </a:cxn>
                    <a:cxn ang="0">
                      <a:pos x="269" y="772"/>
                    </a:cxn>
                    <a:cxn ang="0">
                      <a:pos x="164" y="840"/>
                    </a:cxn>
                    <a:cxn ang="0">
                      <a:pos x="8" y="869"/>
                    </a:cxn>
                    <a:cxn ang="0">
                      <a:pos x="0" y="837"/>
                    </a:cxn>
                    <a:cxn ang="0">
                      <a:pos x="94" y="830"/>
                    </a:cxn>
                    <a:cxn ang="0">
                      <a:pos x="79" y="750"/>
                    </a:cxn>
                    <a:cxn ang="0">
                      <a:pos x="223" y="718"/>
                    </a:cxn>
                    <a:cxn ang="0">
                      <a:pos x="222" y="584"/>
                    </a:cxn>
                    <a:cxn ang="0">
                      <a:pos x="201" y="445"/>
                    </a:cxn>
                    <a:cxn ang="0">
                      <a:pos x="223" y="332"/>
                    </a:cxn>
                    <a:cxn ang="0">
                      <a:pos x="254" y="281"/>
                    </a:cxn>
                    <a:cxn ang="0">
                      <a:pos x="264" y="216"/>
                    </a:cxn>
                    <a:cxn ang="0">
                      <a:pos x="334" y="121"/>
                    </a:cxn>
                    <a:cxn ang="0">
                      <a:pos x="405" y="46"/>
                    </a:cxn>
                    <a:cxn ang="0">
                      <a:pos x="371" y="46"/>
                    </a:cxn>
                    <a:cxn ang="0">
                      <a:pos x="637" y="36"/>
                    </a:cxn>
                    <a:cxn ang="0">
                      <a:pos x="792" y="214"/>
                    </a:cxn>
                    <a:cxn ang="0">
                      <a:pos x="820" y="344"/>
                    </a:cxn>
                    <a:cxn ang="0">
                      <a:pos x="843" y="479"/>
                    </a:cxn>
                    <a:cxn ang="0">
                      <a:pos x="808" y="760"/>
                    </a:cxn>
                    <a:cxn ang="0">
                      <a:pos x="966" y="826"/>
                    </a:cxn>
                    <a:cxn ang="0">
                      <a:pos x="903" y="870"/>
                    </a:cxn>
                    <a:cxn ang="0">
                      <a:pos x="993" y="854"/>
                    </a:cxn>
                    <a:cxn ang="0">
                      <a:pos x="721" y="748"/>
                    </a:cxn>
                    <a:cxn ang="0">
                      <a:pos x="636" y="1034"/>
                    </a:cxn>
                    <a:cxn ang="0">
                      <a:pos x="592" y="1030"/>
                    </a:cxn>
                    <a:cxn ang="0">
                      <a:pos x="609" y="1050"/>
                    </a:cxn>
                    <a:cxn ang="0">
                      <a:pos x="692" y="403"/>
                    </a:cxn>
                    <a:cxn ang="0">
                      <a:pos x="685" y="421"/>
                    </a:cxn>
                    <a:cxn ang="0">
                      <a:pos x="643" y="363"/>
                    </a:cxn>
                    <a:cxn ang="0">
                      <a:pos x="626" y="384"/>
                    </a:cxn>
                    <a:cxn ang="0">
                      <a:pos x="575" y="384"/>
                    </a:cxn>
                    <a:cxn ang="0">
                      <a:pos x="458" y="228"/>
                    </a:cxn>
                    <a:cxn ang="0">
                      <a:pos x="513" y="339"/>
                    </a:cxn>
                    <a:cxn ang="0">
                      <a:pos x="440" y="233"/>
                    </a:cxn>
                  </a:cxnLst>
                  <a:rect l="0" t="0" r="r" b="b"/>
                  <a:pathLst>
                    <a:path w="993" h="1050">
                      <a:moveTo>
                        <a:pt x="440" y="222"/>
                      </a:moveTo>
                      <a:cubicBezTo>
                        <a:pt x="185" y="237"/>
                        <a:pt x="447" y="729"/>
                        <a:pt x="433" y="840"/>
                      </a:cubicBezTo>
                      <a:cubicBezTo>
                        <a:pt x="426" y="837"/>
                        <a:pt x="411" y="827"/>
                        <a:pt x="406" y="823"/>
                      </a:cubicBezTo>
                      <a:cubicBezTo>
                        <a:pt x="403" y="812"/>
                        <a:pt x="397" y="803"/>
                        <a:pt x="394" y="795"/>
                      </a:cubicBezTo>
                      <a:cubicBezTo>
                        <a:pt x="395" y="805"/>
                        <a:pt x="392" y="818"/>
                        <a:pt x="392" y="829"/>
                      </a:cubicBezTo>
                      <a:cubicBezTo>
                        <a:pt x="372" y="827"/>
                        <a:pt x="362" y="814"/>
                        <a:pt x="358" y="794"/>
                      </a:cubicBezTo>
                      <a:cubicBezTo>
                        <a:pt x="361" y="788"/>
                        <a:pt x="348" y="805"/>
                        <a:pt x="346" y="807"/>
                      </a:cubicBezTo>
                      <a:cubicBezTo>
                        <a:pt x="333" y="793"/>
                        <a:pt x="328" y="771"/>
                        <a:pt x="318" y="754"/>
                      </a:cubicBezTo>
                      <a:cubicBezTo>
                        <a:pt x="309" y="777"/>
                        <a:pt x="297" y="794"/>
                        <a:pt x="277" y="805"/>
                      </a:cubicBezTo>
                      <a:cubicBezTo>
                        <a:pt x="276" y="792"/>
                        <a:pt x="270" y="785"/>
                        <a:pt x="269" y="772"/>
                      </a:cubicBezTo>
                      <a:cubicBezTo>
                        <a:pt x="234" y="790"/>
                        <a:pt x="198" y="817"/>
                        <a:pt x="164" y="840"/>
                      </a:cubicBezTo>
                      <a:cubicBezTo>
                        <a:pt x="115" y="872"/>
                        <a:pt x="76" y="873"/>
                        <a:pt x="8" y="869"/>
                      </a:cubicBezTo>
                      <a:cubicBezTo>
                        <a:pt x="6" y="864"/>
                        <a:pt x="1" y="842"/>
                        <a:pt x="0" y="837"/>
                      </a:cubicBezTo>
                      <a:cubicBezTo>
                        <a:pt x="30" y="855"/>
                        <a:pt x="82" y="872"/>
                        <a:pt x="94" y="830"/>
                      </a:cubicBezTo>
                      <a:cubicBezTo>
                        <a:pt x="63" y="819"/>
                        <a:pt x="66" y="773"/>
                        <a:pt x="79" y="750"/>
                      </a:cubicBezTo>
                      <a:cubicBezTo>
                        <a:pt x="89" y="853"/>
                        <a:pt x="214" y="801"/>
                        <a:pt x="223" y="718"/>
                      </a:cubicBezTo>
                      <a:cubicBezTo>
                        <a:pt x="228" y="675"/>
                        <a:pt x="224" y="627"/>
                        <a:pt x="222" y="584"/>
                      </a:cubicBezTo>
                      <a:cubicBezTo>
                        <a:pt x="220" y="537"/>
                        <a:pt x="193" y="491"/>
                        <a:pt x="201" y="445"/>
                      </a:cubicBezTo>
                      <a:cubicBezTo>
                        <a:pt x="235" y="418"/>
                        <a:pt x="212" y="372"/>
                        <a:pt x="223" y="332"/>
                      </a:cubicBezTo>
                      <a:cubicBezTo>
                        <a:pt x="227" y="316"/>
                        <a:pt x="248" y="299"/>
                        <a:pt x="254" y="281"/>
                      </a:cubicBezTo>
                      <a:cubicBezTo>
                        <a:pt x="262" y="262"/>
                        <a:pt x="258" y="237"/>
                        <a:pt x="264" y="216"/>
                      </a:cubicBezTo>
                      <a:cubicBezTo>
                        <a:pt x="275" y="176"/>
                        <a:pt x="304" y="148"/>
                        <a:pt x="334" y="121"/>
                      </a:cubicBezTo>
                      <a:cubicBezTo>
                        <a:pt x="358" y="99"/>
                        <a:pt x="389" y="56"/>
                        <a:pt x="405" y="46"/>
                      </a:cubicBezTo>
                      <a:cubicBezTo>
                        <a:pt x="394" y="47"/>
                        <a:pt x="382" y="44"/>
                        <a:pt x="371" y="46"/>
                      </a:cubicBezTo>
                      <a:cubicBezTo>
                        <a:pt x="449" y="27"/>
                        <a:pt x="559" y="0"/>
                        <a:pt x="637" y="36"/>
                      </a:cubicBezTo>
                      <a:cubicBezTo>
                        <a:pt x="697" y="63"/>
                        <a:pt x="760" y="158"/>
                        <a:pt x="792" y="214"/>
                      </a:cubicBezTo>
                      <a:cubicBezTo>
                        <a:pt x="817" y="258"/>
                        <a:pt x="820" y="291"/>
                        <a:pt x="820" y="344"/>
                      </a:cubicBezTo>
                      <a:cubicBezTo>
                        <a:pt x="819" y="396"/>
                        <a:pt x="835" y="430"/>
                        <a:pt x="843" y="479"/>
                      </a:cubicBezTo>
                      <a:cubicBezTo>
                        <a:pt x="858" y="576"/>
                        <a:pt x="787" y="667"/>
                        <a:pt x="808" y="760"/>
                      </a:cubicBezTo>
                      <a:cubicBezTo>
                        <a:pt x="822" y="825"/>
                        <a:pt x="909" y="889"/>
                        <a:pt x="966" y="826"/>
                      </a:cubicBezTo>
                      <a:cubicBezTo>
                        <a:pt x="960" y="855"/>
                        <a:pt x="930" y="864"/>
                        <a:pt x="903" y="870"/>
                      </a:cubicBezTo>
                      <a:cubicBezTo>
                        <a:pt x="935" y="870"/>
                        <a:pt x="970" y="879"/>
                        <a:pt x="993" y="854"/>
                      </a:cubicBezTo>
                      <a:cubicBezTo>
                        <a:pt x="922" y="976"/>
                        <a:pt x="782" y="783"/>
                        <a:pt x="721" y="748"/>
                      </a:cubicBezTo>
                      <a:cubicBezTo>
                        <a:pt x="697" y="823"/>
                        <a:pt x="491" y="954"/>
                        <a:pt x="636" y="1034"/>
                      </a:cubicBezTo>
                      <a:cubicBezTo>
                        <a:pt x="622" y="1031"/>
                        <a:pt x="607" y="1033"/>
                        <a:pt x="592" y="1030"/>
                      </a:cubicBezTo>
                      <a:cubicBezTo>
                        <a:pt x="597" y="1038"/>
                        <a:pt x="600" y="1045"/>
                        <a:pt x="609" y="1050"/>
                      </a:cubicBezTo>
                      <a:cubicBezTo>
                        <a:pt x="375" y="971"/>
                        <a:pt x="854" y="481"/>
                        <a:pt x="692" y="403"/>
                      </a:cubicBezTo>
                      <a:cubicBezTo>
                        <a:pt x="690" y="411"/>
                        <a:pt x="686" y="417"/>
                        <a:pt x="685" y="421"/>
                      </a:cubicBezTo>
                      <a:cubicBezTo>
                        <a:pt x="670" y="405"/>
                        <a:pt x="651" y="383"/>
                        <a:pt x="643" y="363"/>
                      </a:cubicBezTo>
                      <a:cubicBezTo>
                        <a:pt x="639" y="369"/>
                        <a:pt x="630" y="374"/>
                        <a:pt x="626" y="384"/>
                      </a:cubicBezTo>
                      <a:cubicBezTo>
                        <a:pt x="612" y="388"/>
                        <a:pt x="588" y="388"/>
                        <a:pt x="575" y="384"/>
                      </a:cubicBezTo>
                      <a:cubicBezTo>
                        <a:pt x="549" y="344"/>
                        <a:pt x="530" y="218"/>
                        <a:pt x="458" y="228"/>
                      </a:cubicBezTo>
                      <a:cubicBezTo>
                        <a:pt x="447" y="273"/>
                        <a:pt x="482" y="314"/>
                        <a:pt x="513" y="339"/>
                      </a:cubicBezTo>
                      <a:cubicBezTo>
                        <a:pt x="476" y="315"/>
                        <a:pt x="435" y="284"/>
                        <a:pt x="440" y="233"/>
                      </a:cubicBezTo>
                    </a:path>
                  </a:pathLst>
                </a:custGeom>
                <a:solidFill>
                  <a:srgbClr val="000000"/>
                </a:solidFill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41" name="Freeform 301"/>
                <p:cNvSpPr>
                  <a:spLocks/>
                </p:cNvSpPr>
                <p:nvPr/>
              </p:nvSpPr>
              <p:spPr bwMode="gray">
                <a:xfrm>
                  <a:off x="5880736" y="1613488"/>
                  <a:ext cx="537321" cy="568011"/>
                </a:xfrm>
                <a:custGeom>
                  <a:avLst/>
                  <a:gdLst/>
                  <a:ahLst/>
                  <a:cxnLst>
                    <a:cxn ang="0">
                      <a:pos x="440" y="222"/>
                    </a:cxn>
                    <a:cxn ang="0">
                      <a:pos x="433" y="840"/>
                    </a:cxn>
                    <a:cxn ang="0">
                      <a:pos x="406" y="823"/>
                    </a:cxn>
                    <a:cxn ang="0">
                      <a:pos x="394" y="795"/>
                    </a:cxn>
                    <a:cxn ang="0">
                      <a:pos x="392" y="829"/>
                    </a:cxn>
                    <a:cxn ang="0">
                      <a:pos x="358" y="794"/>
                    </a:cxn>
                    <a:cxn ang="0">
                      <a:pos x="346" y="807"/>
                    </a:cxn>
                    <a:cxn ang="0">
                      <a:pos x="318" y="754"/>
                    </a:cxn>
                    <a:cxn ang="0">
                      <a:pos x="277" y="805"/>
                    </a:cxn>
                    <a:cxn ang="0">
                      <a:pos x="269" y="772"/>
                    </a:cxn>
                    <a:cxn ang="0">
                      <a:pos x="164" y="840"/>
                    </a:cxn>
                    <a:cxn ang="0">
                      <a:pos x="8" y="869"/>
                    </a:cxn>
                    <a:cxn ang="0">
                      <a:pos x="0" y="837"/>
                    </a:cxn>
                    <a:cxn ang="0">
                      <a:pos x="94" y="830"/>
                    </a:cxn>
                    <a:cxn ang="0">
                      <a:pos x="79" y="750"/>
                    </a:cxn>
                    <a:cxn ang="0">
                      <a:pos x="223" y="718"/>
                    </a:cxn>
                    <a:cxn ang="0">
                      <a:pos x="222" y="584"/>
                    </a:cxn>
                    <a:cxn ang="0">
                      <a:pos x="201" y="445"/>
                    </a:cxn>
                    <a:cxn ang="0">
                      <a:pos x="223" y="332"/>
                    </a:cxn>
                    <a:cxn ang="0">
                      <a:pos x="254" y="281"/>
                    </a:cxn>
                    <a:cxn ang="0">
                      <a:pos x="264" y="216"/>
                    </a:cxn>
                    <a:cxn ang="0">
                      <a:pos x="334" y="121"/>
                    </a:cxn>
                    <a:cxn ang="0">
                      <a:pos x="405" y="46"/>
                    </a:cxn>
                    <a:cxn ang="0">
                      <a:pos x="371" y="46"/>
                    </a:cxn>
                    <a:cxn ang="0">
                      <a:pos x="637" y="36"/>
                    </a:cxn>
                    <a:cxn ang="0">
                      <a:pos x="792" y="214"/>
                    </a:cxn>
                    <a:cxn ang="0">
                      <a:pos x="820" y="344"/>
                    </a:cxn>
                    <a:cxn ang="0">
                      <a:pos x="843" y="479"/>
                    </a:cxn>
                    <a:cxn ang="0">
                      <a:pos x="808" y="760"/>
                    </a:cxn>
                    <a:cxn ang="0">
                      <a:pos x="966" y="826"/>
                    </a:cxn>
                    <a:cxn ang="0">
                      <a:pos x="903" y="870"/>
                    </a:cxn>
                    <a:cxn ang="0">
                      <a:pos x="993" y="854"/>
                    </a:cxn>
                    <a:cxn ang="0">
                      <a:pos x="721" y="748"/>
                    </a:cxn>
                    <a:cxn ang="0">
                      <a:pos x="636" y="1034"/>
                    </a:cxn>
                    <a:cxn ang="0">
                      <a:pos x="592" y="1030"/>
                    </a:cxn>
                    <a:cxn ang="0">
                      <a:pos x="609" y="1050"/>
                    </a:cxn>
                    <a:cxn ang="0">
                      <a:pos x="692" y="403"/>
                    </a:cxn>
                    <a:cxn ang="0">
                      <a:pos x="685" y="421"/>
                    </a:cxn>
                    <a:cxn ang="0">
                      <a:pos x="643" y="363"/>
                    </a:cxn>
                    <a:cxn ang="0">
                      <a:pos x="626" y="384"/>
                    </a:cxn>
                    <a:cxn ang="0">
                      <a:pos x="575" y="384"/>
                    </a:cxn>
                    <a:cxn ang="0">
                      <a:pos x="458" y="228"/>
                    </a:cxn>
                    <a:cxn ang="0">
                      <a:pos x="513" y="339"/>
                    </a:cxn>
                    <a:cxn ang="0">
                      <a:pos x="440" y="233"/>
                    </a:cxn>
                  </a:cxnLst>
                  <a:rect l="0" t="0" r="r" b="b"/>
                  <a:pathLst>
                    <a:path w="993" h="1050">
                      <a:moveTo>
                        <a:pt x="440" y="222"/>
                      </a:moveTo>
                      <a:cubicBezTo>
                        <a:pt x="185" y="237"/>
                        <a:pt x="447" y="729"/>
                        <a:pt x="433" y="840"/>
                      </a:cubicBezTo>
                      <a:cubicBezTo>
                        <a:pt x="426" y="837"/>
                        <a:pt x="411" y="827"/>
                        <a:pt x="406" y="823"/>
                      </a:cubicBezTo>
                      <a:cubicBezTo>
                        <a:pt x="403" y="812"/>
                        <a:pt x="397" y="803"/>
                        <a:pt x="394" y="795"/>
                      </a:cubicBezTo>
                      <a:cubicBezTo>
                        <a:pt x="395" y="805"/>
                        <a:pt x="392" y="818"/>
                        <a:pt x="392" y="829"/>
                      </a:cubicBezTo>
                      <a:cubicBezTo>
                        <a:pt x="372" y="827"/>
                        <a:pt x="362" y="814"/>
                        <a:pt x="358" y="794"/>
                      </a:cubicBezTo>
                      <a:cubicBezTo>
                        <a:pt x="361" y="788"/>
                        <a:pt x="348" y="805"/>
                        <a:pt x="346" y="807"/>
                      </a:cubicBezTo>
                      <a:cubicBezTo>
                        <a:pt x="333" y="793"/>
                        <a:pt x="328" y="771"/>
                        <a:pt x="318" y="754"/>
                      </a:cubicBezTo>
                      <a:cubicBezTo>
                        <a:pt x="309" y="777"/>
                        <a:pt x="297" y="794"/>
                        <a:pt x="277" y="805"/>
                      </a:cubicBezTo>
                      <a:cubicBezTo>
                        <a:pt x="276" y="792"/>
                        <a:pt x="270" y="785"/>
                        <a:pt x="269" y="772"/>
                      </a:cubicBezTo>
                      <a:cubicBezTo>
                        <a:pt x="234" y="790"/>
                        <a:pt x="198" y="817"/>
                        <a:pt x="164" y="840"/>
                      </a:cubicBezTo>
                      <a:cubicBezTo>
                        <a:pt x="115" y="872"/>
                        <a:pt x="76" y="873"/>
                        <a:pt x="8" y="869"/>
                      </a:cubicBezTo>
                      <a:cubicBezTo>
                        <a:pt x="6" y="864"/>
                        <a:pt x="1" y="842"/>
                        <a:pt x="0" y="837"/>
                      </a:cubicBezTo>
                      <a:cubicBezTo>
                        <a:pt x="30" y="855"/>
                        <a:pt x="82" y="872"/>
                        <a:pt x="94" y="830"/>
                      </a:cubicBezTo>
                      <a:cubicBezTo>
                        <a:pt x="63" y="819"/>
                        <a:pt x="66" y="773"/>
                        <a:pt x="79" y="750"/>
                      </a:cubicBezTo>
                      <a:cubicBezTo>
                        <a:pt x="89" y="853"/>
                        <a:pt x="214" y="801"/>
                        <a:pt x="223" y="718"/>
                      </a:cubicBezTo>
                      <a:cubicBezTo>
                        <a:pt x="228" y="675"/>
                        <a:pt x="224" y="627"/>
                        <a:pt x="222" y="584"/>
                      </a:cubicBezTo>
                      <a:cubicBezTo>
                        <a:pt x="220" y="537"/>
                        <a:pt x="193" y="491"/>
                        <a:pt x="201" y="445"/>
                      </a:cubicBezTo>
                      <a:cubicBezTo>
                        <a:pt x="235" y="418"/>
                        <a:pt x="212" y="372"/>
                        <a:pt x="223" y="332"/>
                      </a:cubicBezTo>
                      <a:cubicBezTo>
                        <a:pt x="227" y="316"/>
                        <a:pt x="248" y="299"/>
                        <a:pt x="254" y="281"/>
                      </a:cubicBezTo>
                      <a:cubicBezTo>
                        <a:pt x="262" y="262"/>
                        <a:pt x="258" y="237"/>
                        <a:pt x="264" y="216"/>
                      </a:cubicBezTo>
                      <a:cubicBezTo>
                        <a:pt x="275" y="176"/>
                        <a:pt x="304" y="148"/>
                        <a:pt x="334" y="121"/>
                      </a:cubicBezTo>
                      <a:cubicBezTo>
                        <a:pt x="358" y="99"/>
                        <a:pt x="389" y="56"/>
                        <a:pt x="405" y="46"/>
                      </a:cubicBezTo>
                      <a:cubicBezTo>
                        <a:pt x="394" y="47"/>
                        <a:pt x="382" y="44"/>
                        <a:pt x="371" y="46"/>
                      </a:cubicBezTo>
                      <a:cubicBezTo>
                        <a:pt x="449" y="27"/>
                        <a:pt x="559" y="0"/>
                        <a:pt x="637" y="36"/>
                      </a:cubicBezTo>
                      <a:cubicBezTo>
                        <a:pt x="697" y="63"/>
                        <a:pt x="760" y="158"/>
                        <a:pt x="792" y="214"/>
                      </a:cubicBezTo>
                      <a:cubicBezTo>
                        <a:pt x="817" y="258"/>
                        <a:pt x="820" y="291"/>
                        <a:pt x="820" y="344"/>
                      </a:cubicBezTo>
                      <a:cubicBezTo>
                        <a:pt x="819" y="396"/>
                        <a:pt x="835" y="430"/>
                        <a:pt x="843" y="479"/>
                      </a:cubicBezTo>
                      <a:cubicBezTo>
                        <a:pt x="858" y="576"/>
                        <a:pt x="787" y="667"/>
                        <a:pt x="808" y="760"/>
                      </a:cubicBezTo>
                      <a:cubicBezTo>
                        <a:pt x="822" y="825"/>
                        <a:pt x="909" y="889"/>
                        <a:pt x="966" y="826"/>
                      </a:cubicBezTo>
                      <a:cubicBezTo>
                        <a:pt x="960" y="855"/>
                        <a:pt x="930" y="864"/>
                        <a:pt x="903" y="870"/>
                      </a:cubicBezTo>
                      <a:cubicBezTo>
                        <a:pt x="935" y="870"/>
                        <a:pt x="970" y="879"/>
                        <a:pt x="993" y="854"/>
                      </a:cubicBezTo>
                      <a:cubicBezTo>
                        <a:pt x="922" y="976"/>
                        <a:pt x="782" y="783"/>
                        <a:pt x="721" y="748"/>
                      </a:cubicBezTo>
                      <a:cubicBezTo>
                        <a:pt x="697" y="823"/>
                        <a:pt x="491" y="954"/>
                        <a:pt x="636" y="1034"/>
                      </a:cubicBezTo>
                      <a:cubicBezTo>
                        <a:pt x="622" y="1031"/>
                        <a:pt x="607" y="1033"/>
                        <a:pt x="592" y="1030"/>
                      </a:cubicBezTo>
                      <a:cubicBezTo>
                        <a:pt x="597" y="1038"/>
                        <a:pt x="600" y="1045"/>
                        <a:pt x="609" y="1050"/>
                      </a:cubicBezTo>
                      <a:cubicBezTo>
                        <a:pt x="375" y="971"/>
                        <a:pt x="854" y="481"/>
                        <a:pt x="692" y="403"/>
                      </a:cubicBezTo>
                      <a:cubicBezTo>
                        <a:pt x="690" y="411"/>
                        <a:pt x="686" y="417"/>
                        <a:pt x="685" y="421"/>
                      </a:cubicBezTo>
                      <a:cubicBezTo>
                        <a:pt x="670" y="405"/>
                        <a:pt x="651" y="383"/>
                        <a:pt x="643" y="363"/>
                      </a:cubicBezTo>
                      <a:cubicBezTo>
                        <a:pt x="639" y="369"/>
                        <a:pt x="630" y="374"/>
                        <a:pt x="626" y="384"/>
                      </a:cubicBezTo>
                      <a:cubicBezTo>
                        <a:pt x="612" y="388"/>
                        <a:pt x="588" y="388"/>
                        <a:pt x="575" y="384"/>
                      </a:cubicBezTo>
                      <a:cubicBezTo>
                        <a:pt x="549" y="344"/>
                        <a:pt x="530" y="218"/>
                        <a:pt x="458" y="228"/>
                      </a:cubicBezTo>
                      <a:cubicBezTo>
                        <a:pt x="447" y="273"/>
                        <a:pt x="482" y="314"/>
                        <a:pt x="513" y="339"/>
                      </a:cubicBezTo>
                      <a:cubicBezTo>
                        <a:pt x="476" y="315"/>
                        <a:pt x="435" y="284"/>
                        <a:pt x="440" y="233"/>
                      </a:cubicBezTo>
                    </a:path>
                  </a:pathLst>
                </a:custGeom>
                <a:noFill/>
                <a:ln w="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42" name="Freeform 302"/>
                <p:cNvSpPr>
                  <a:spLocks/>
                </p:cNvSpPr>
                <p:nvPr/>
              </p:nvSpPr>
              <p:spPr bwMode="gray">
                <a:xfrm>
                  <a:off x="5904098" y="2807455"/>
                  <a:ext cx="107647" cy="109251"/>
                </a:xfrm>
                <a:custGeom>
                  <a:avLst/>
                  <a:gdLst/>
                  <a:ahLst/>
                  <a:cxnLst>
                    <a:cxn ang="0">
                      <a:pos x="4" y="47"/>
                    </a:cxn>
                    <a:cxn ang="0">
                      <a:pos x="16" y="105"/>
                    </a:cxn>
                    <a:cxn ang="0">
                      <a:pos x="128" y="168"/>
                    </a:cxn>
                    <a:cxn ang="0">
                      <a:pos x="176" y="188"/>
                    </a:cxn>
                    <a:cxn ang="0">
                      <a:pos x="171" y="138"/>
                    </a:cxn>
                    <a:cxn ang="0">
                      <a:pos x="86" y="71"/>
                    </a:cxn>
                    <a:cxn ang="0">
                      <a:pos x="186" y="58"/>
                    </a:cxn>
                    <a:cxn ang="0">
                      <a:pos x="97" y="16"/>
                    </a:cxn>
                    <a:cxn ang="0">
                      <a:pos x="39" y="4"/>
                    </a:cxn>
                    <a:cxn ang="0">
                      <a:pos x="0" y="43"/>
                    </a:cxn>
                  </a:cxnLst>
                  <a:rect l="0" t="0" r="r" b="b"/>
                  <a:pathLst>
                    <a:path w="199" h="202">
                      <a:moveTo>
                        <a:pt x="4" y="47"/>
                      </a:moveTo>
                      <a:cubicBezTo>
                        <a:pt x="14" y="65"/>
                        <a:pt x="16" y="85"/>
                        <a:pt x="16" y="105"/>
                      </a:cubicBezTo>
                      <a:cubicBezTo>
                        <a:pt x="64" y="87"/>
                        <a:pt x="95" y="139"/>
                        <a:pt x="128" y="168"/>
                      </a:cubicBezTo>
                      <a:cubicBezTo>
                        <a:pt x="142" y="181"/>
                        <a:pt x="157" y="202"/>
                        <a:pt x="176" y="188"/>
                      </a:cubicBezTo>
                      <a:cubicBezTo>
                        <a:pt x="193" y="176"/>
                        <a:pt x="181" y="151"/>
                        <a:pt x="171" y="138"/>
                      </a:cubicBezTo>
                      <a:cubicBezTo>
                        <a:pt x="154" y="117"/>
                        <a:pt x="88" y="99"/>
                        <a:pt x="86" y="71"/>
                      </a:cubicBezTo>
                      <a:cubicBezTo>
                        <a:pt x="83" y="30"/>
                        <a:pt x="159" y="61"/>
                        <a:pt x="186" y="58"/>
                      </a:cubicBezTo>
                      <a:cubicBezTo>
                        <a:pt x="199" y="12"/>
                        <a:pt x="125" y="20"/>
                        <a:pt x="97" y="16"/>
                      </a:cubicBezTo>
                      <a:cubicBezTo>
                        <a:pt x="82" y="14"/>
                        <a:pt x="53" y="0"/>
                        <a:pt x="39" y="4"/>
                      </a:cubicBezTo>
                      <a:cubicBezTo>
                        <a:pt x="22" y="9"/>
                        <a:pt x="12" y="35"/>
                        <a:pt x="0" y="43"/>
                      </a:cubicBezTo>
                    </a:path>
                  </a:pathLst>
                </a:custGeom>
                <a:solidFill>
                  <a:srgbClr val="99999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43" name="Freeform 303"/>
                <p:cNvSpPr>
                  <a:spLocks/>
                </p:cNvSpPr>
                <p:nvPr/>
              </p:nvSpPr>
              <p:spPr bwMode="gray">
                <a:xfrm>
                  <a:off x="5837907" y="2703015"/>
                  <a:ext cx="200178" cy="143377"/>
                </a:xfrm>
                <a:custGeom>
                  <a:avLst/>
                  <a:gdLst/>
                  <a:ahLst/>
                  <a:cxnLst>
                    <a:cxn ang="0">
                      <a:pos x="4" y="216"/>
                    </a:cxn>
                    <a:cxn ang="0">
                      <a:pos x="1" y="259"/>
                    </a:cxn>
                    <a:cxn ang="0">
                      <a:pos x="78" y="255"/>
                    </a:cxn>
                    <a:cxn ang="0">
                      <a:pos x="144" y="224"/>
                    </a:cxn>
                    <a:cxn ang="0">
                      <a:pos x="185" y="214"/>
                    </a:cxn>
                    <a:cxn ang="0">
                      <a:pos x="299" y="219"/>
                    </a:cxn>
                    <a:cxn ang="0">
                      <a:pos x="193" y="179"/>
                    </a:cxn>
                    <a:cxn ang="0">
                      <a:pos x="180" y="165"/>
                    </a:cxn>
                    <a:cxn ang="0">
                      <a:pos x="335" y="197"/>
                    </a:cxn>
                    <a:cxn ang="0">
                      <a:pos x="265" y="146"/>
                    </a:cxn>
                    <a:cxn ang="0">
                      <a:pos x="184" y="122"/>
                    </a:cxn>
                    <a:cxn ang="0">
                      <a:pos x="284" y="114"/>
                    </a:cxn>
                    <a:cxn ang="0">
                      <a:pos x="370" y="142"/>
                    </a:cxn>
                    <a:cxn ang="0">
                      <a:pos x="285" y="82"/>
                    </a:cxn>
                    <a:cxn ang="0">
                      <a:pos x="191" y="66"/>
                    </a:cxn>
                    <a:cxn ang="0">
                      <a:pos x="339" y="34"/>
                    </a:cxn>
                    <a:cxn ang="0">
                      <a:pos x="241" y="3"/>
                    </a:cxn>
                    <a:cxn ang="0">
                      <a:pos x="143" y="48"/>
                    </a:cxn>
                    <a:cxn ang="0">
                      <a:pos x="4" y="216"/>
                    </a:cxn>
                  </a:cxnLst>
                  <a:rect l="0" t="0" r="r" b="b"/>
                  <a:pathLst>
                    <a:path w="370" h="265">
                      <a:moveTo>
                        <a:pt x="4" y="216"/>
                      </a:moveTo>
                      <a:cubicBezTo>
                        <a:pt x="2" y="231"/>
                        <a:pt x="0" y="243"/>
                        <a:pt x="1" y="259"/>
                      </a:cubicBezTo>
                      <a:cubicBezTo>
                        <a:pt x="28" y="265"/>
                        <a:pt x="53" y="263"/>
                        <a:pt x="78" y="255"/>
                      </a:cubicBezTo>
                      <a:cubicBezTo>
                        <a:pt x="98" y="250"/>
                        <a:pt x="133" y="240"/>
                        <a:pt x="144" y="224"/>
                      </a:cubicBezTo>
                      <a:cubicBezTo>
                        <a:pt x="147" y="219"/>
                        <a:pt x="175" y="214"/>
                        <a:pt x="185" y="214"/>
                      </a:cubicBezTo>
                      <a:cubicBezTo>
                        <a:pt x="229" y="214"/>
                        <a:pt x="302" y="248"/>
                        <a:pt x="299" y="219"/>
                      </a:cubicBezTo>
                      <a:cubicBezTo>
                        <a:pt x="296" y="213"/>
                        <a:pt x="226" y="193"/>
                        <a:pt x="193" y="179"/>
                      </a:cubicBezTo>
                      <a:cubicBezTo>
                        <a:pt x="181" y="173"/>
                        <a:pt x="178" y="167"/>
                        <a:pt x="180" y="165"/>
                      </a:cubicBezTo>
                      <a:cubicBezTo>
                        <a:pt x="200" y="139"/>
                        <a:pt x="329" y="219"/>
                        <a:pt x="335" y="197"/>
                      </a:cubicBezTo>
                      <a:cubicBezTo>
                        <a:pt x="334" y="181"/>
                        <a:pt x="293" y="161"/>
                        <a:pt x="265" y="146"/>
                      </a:cubicBezTo>
                      <a:cubicBezTo>
                        <a:pt x="241" y="133"/>
                        <a:pt x="214" y="125"/>
                        <a:pt x="184" y="122"/>
                      </a:cubicBezTo>
                      <a:cubicBezTo>
                        <a:pt x="186" y="93"/>
                        <a:pt x="237" y="103"/>
                        <a:pt x="284" y="114"/>
                      </a:cubicBezTo>
                      <a:cubicBezTo>
                        <a:pt x="326" y="127"/>
                        <a:pt x="367" y="149"/>
                        <a:pt x="370" y="142"/>
                      </a:cubicBezTo>
                      <a:cubicBezTo>
                        <a:pt x="370" y="119"/>
                        <a:pt x="306" y="92"/>
                        <a:pt x="285" y="82"/>
                      </a:cubicBezTo>
                      <a:cubicBezTo>
                        <a:pt x="262" y="72"/>
                        <a:pt x="204" y="81"/>
                        <a:pt x="191" y="66"/>
                      </a:cubicBezTo>
                      <a:cubicBezTo>
                        <a:pt x="212" y="5"/>
                        <a:pt x="338" y="49"/>
                        <a:pt x="339" y="34"/>
                      </a:cubicBezTo>
                      <a:cubicBezTo>
                        <a:pt x="336" y="15"/>
                        <a:pt x="265" y="4"/>
                        <a:pt x="241" y="3"/>
                      </a:cubicBezTo>
                      <a:cubicBezTo>
                        <a:pt x="191" y="0"/>
                        <a:pt x="179" y="20"/>
                        <a:pt x="143" y="48"/>
                      </a:cubicBezTo>
                      <a:cubicBezTo>
                        <a:pt x="89" y="90"/>
                        <a:pt x="0" y="130"/>
                        <a:pt x="4" y="216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44" name="Freeform 308"/>
                <p:cNvSpPr>
                  <a:spLocks/>
                </p:cNvSpPr>
                <p:nvPr/>
              </p:nvSpPr>
              <p:spPr bwMode="gray">
                <a:xfrm>
                  <a:off x="6385533" y="2287542"/>
                  <a:ext cx="52450" cy="503651"/>
                </a:xfrm>
                <a:custGeom>
                  <a:avLst/>
                  <a:gdLst/>
                  <a:ahLst/>
                  <a:cxnLst>
                    <a:cxn ang="0">
                      <a:pos x="0" y="29"/>
                    </a:cxn>
                    <a:cxn ang="0">
                      <a:pos x="12" y="235"/>
                    </a:cxn>
                    <a:cxn ang="0">
                      <a:pos x="30" y="450"/>
                    </a:cxn>
                    <a:cxn ang="0">
                      <a:pos x="18" y="666"/>
                    </a:cxn>
                    <a:cxn ang="0">
                      <a:pos x="12" y="771"/>
                    </a:cxn>
                    <a:cxn ang="0">
                      <a:pos x="94" y="931"/>
                    </a:cxn>
                    <a:cxn ang="0">
                      <a:pos x="94" y="666"/>
                    </a:cxn>
                    <a:cxn ang="0">
                      <a:pos x="83" y="399"/>
                    </a:cxn>
                    <a:cxn ang="0">
                      <a:pos x="29" y="158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97" h="931">
                      <a:moveTo>
                        <a:pt x="0" y="29"/>
                      </a:moveTo>
                      <a:cubicBezTo>
                        <a:pt x="33" y="79"/>
                        <a:pt x="3" y="174"/>
                        <a:pt x="12" y="235"/>
                      </a:cubicBezTo>
                      <a:cubicBezTo>
                        <a:pt x="23" y="307"/>
                        <a:pt x="19" y="379"/>
                        <a:pt x="30" y="450"/>
                      </a:cubicBezTo>
                      <a:cubicBezTo>
                        <a:pt x="41" y="525"/>
                        <a:pt x="24" y="593"/>
                        <a:pt x="18" y="666"/>
                      </a:cubicBezTo>
                      <a:cubicBezTo>
                        <a:pt x="15" y="694"/>
                        <a:pt x="7" y="748"/>
                        <a:pt x="12" y="771"/>
                      </a:cubicBezTo>
                      <a:cubicBezTo>
                        <a:pt x="20" y="804"/>
                        <a:pt x="76" y="906"/>
                        <a:pt x="94" y="931"/>
                      </a:cubicBezTo>
                      <a:cubicBezTo>
                        <a:pt x="97" y="875"/>
                        <a:pt x="93" y="728"/>
                        <a:pt x="94" y="666"/>
                      </a:cubicBezTo>
                      <a:cubicBezTo>
                        <a:pt x="95" y="576"/>
                        <a:pt x="90" y="487"/>
                        <a:pt x="83" y="399"/>
                      </a:cubicBezTo>
                      <a:cubicBezTo>
                        <a:pt x="75" y="317"/>
                        <a:pt x="42" y="239"/>
                        <a:pt x="29" y="158"/>
                      </a:cubicBezTo>
                      <a:cubicBezTo>
                        <a:pt x="20" y="97"/>
                        <a:pt x="25" y="55"/>
                        <a:pt x="0" y="0"/>
                      </a:cubicBezTo>
                    </a:path>
                  </a:pathLst>
                </a:custGeom>
                <a:solidFill>
                  <a:srgbClr val="99999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45" name="Freeform 309"/>
                <p:cNvSpPr>
                  <a:spLocks/>
                </p:cNvSpPr>
                <p:nvPr/>
              </p:nvSpPr>
              <p:spPr bwMode="gray">
                <a:xfrm>
                  <a:off x="6256814" y="2763022"/>
                  <a:ext cx="214149" cy="215295"/>
                </a:xfrm>
                <a:custGeom>
                  <a:avLst/>
                  <a:gdLst/>
                  <a:ahLst/>
                  <a:cxnLst>
                    <a:cxn ang="0">
                      <a:pos x="330" y="55"/>
                    </a:cxn>
                    <a:cxn ang="0">
                      <a:pos x="318" y="109"/>
                    </a:cxn>
                    <a:cxn ang="0">
                      <a:pos x="108" y="33"/>
                    </a:cxn>
                    <a:cxn ang="0">
                      <a:pos x="209" y="113"/>
                    </a:cxn>
                    <a:cxn ang="0">
                      <a:pos x="243" y="164"/>
                    </a:cxn>
                    <a:cxn ang="0">
                      <a:pos x="287" y="214"/>
                    </a:cxn>
                    <a:cxn ang="0">
                      <a:pos x="221" y="219"/>
                    </a:cxn>
                    <a:cxn ang="0">
                      <a:pos x="256" y="289"/>
                    </a:cxn>
                    <a:cxn ang="0">
                      <a:pos x="170" y="329"/>
                    </a:cxn>
                    <a:cxn ang="0">
                      <a:pos x="0" y="398"/>
                    </a:cxn>
                    <a:cxn ang="0">
                      <a:pos x="194" y="344"/>
                    </a:cxn>
                    <a:cxn ang="0">
                      <a:pos x="314" y="351"/>
                    </a:cxn>
                    <a:cxn ang="0">
                      <a:pos x="396" y="370"/>
                    </a:cxn>
                    <a:cxn ang="0">
                      <a:pos x="357" y="238"/>
                    </a:cxn>
                    <a:cxn ang="0">
                      <a:pos x="330" y="98"/>
                    </a:cxn>
                  </a:cxnLst>
                  <a:rect l="0" t="0" r="r" b="b"/>
                  <a:pathLst>
                    <a:path w="396" h="398">
                      <a:moveTo>
                        <a:pt x="330" y="55"/>
                      </a:moveTo>
                      <a:cubicBezTo>
                        <a:pt x="319" y="72"/>
                        <a:pt x="324" y="91"/>
                        <a:pt x="318" y="109"/>
                      </a:cubicBezTo>
                      <a:cubicBezTo>
                        <a:pt x="238" y="165"/>
                        <a:pt x="183" y="0"/>
                        <a:pt x="108" y="33"/>
                      </a:cubicBezTo>
                      <a:cubicBezTo>
                        <a:pt x="96" y="79"/>
                        <a:pt x="186" y="88"/>
                        <a:pt x="209" y="113"/>
                      </a:cubicBezTo>
                      <a:cubicBezTo>
                        <a:pt x="222" y="129"/>
                        <a:pt x="223" y="147"/>
                        <a:pt x="243" y="164"/>
                      </a:cubicBezTo>
                      <a:cubicBezTo>
                        <a:pt x="262" y="180"/>
                        <a:pt x="285" y="188"/>
                        <a:pt x="287" y="214"/>
                      </a:cubicBezTo>
                      <a:cubicBezTo>
                        <a:pt x="266" y="222"/>
                        <a:pt x="243" y="218"/>
                        <a:pt x="221" y="219"/>
                      </a:cubicBezTo>
                      <a:cubicBezTo>
                        <a:pt x="210" y="261"/>
                        <a:pt x="255" y="250"/>
                        <a:pt x="256" y="289"/>
                      </a:cubicBezTo>
                      <a:cubicBezTo>
                        <a:pt x="257" y="338"/>
                        <a:pt x="204" y="331"/>
                        <a:pt x="170" y="329"/>
                      </a:cubicBezTo>
                      <a:cubicBezTo>
                        <a:pt x="94" y="325"/>
                        <a:pt x="33" y="326"/>
                        <a:pt x="0" y="398"/>
                      </a:cubicBezTo>
                      <a:cubicBezTo>
                        <a:pt x="21" y="350"/>
                        <a:pt x="148" y="348"/>
                        <a:pt x="194" y="344"/>
                      </a:cubicBezTo>
                      <a:cubicBezTo>
                        <a:pt x="237" y="339"/>
                        <a:pt x="273" y="340"/>
                        <a:pt x="314" y="351"/>
                      </a:cubicBezTo>
                      <a:cubicBezTo>
                        <a:pt x="341" y="357"/>
                        <a:pt x="369" y="383"/>
                        <a:pt x="396" y="370"/>
                      </a:cubicBezTo>
                      <a:cubicBezTo>
                        <a:pt x="384" y="326"/>
                        <a:pt x="364" y="287"/>
                        <a:pt x="357" y="238"/>
                      </a:cubicBezTo>
                      <a:cubicBezTo>
                        <a:pt x="351" y="193"/>
                        <a:pt x="326" y="145"/>
                        <a:pt x="330" y="98"/>
                      </a:cubicBezTo>
                    </a:path>
                  </a:pathLst>
                </a:custGeom>
                <a:solidFill>
                  <a:srgbClr val="99999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46" name="Freeform 310"/>
                <p:cNvSpPr>
                  <a:spLocks/>
                </p:cNvSpPr>
                <p:nvPr/>
              </p:nvSpPr>
              <p:spPr bwMode="gray">
                <a:xfrm>
                  <a:off x="5677809" y="2476955"/>
                  <a:ext cx="148187" cy="195826"/>
                </a:xfrm>
                <a:custGeom>
                  <a:avLst/>
                  <a:gdLst/>
                  <a:ahLst/>
                  <a:cxnLst>
                    <a:cxn ang="0">
                      <a:pos x="173" y="43"/>
                    </a:cxn>
                    <a:cxn ang="0">
                      <a:pos x="47" y="57"/>
                    </a:cxn>
                    <a:cxn ang="0">
                      <a:pos x="133" y="133"/>
                    </a:cxn>
                    <a:cxn ang="0">
                      <a:pos x="181" y="236"/>
                    </a:cxn>
                    <a:cxn ang="0">
                      <a:pos x="122" y="311"/>
                    </a:cxn>
                    <a:cxn ang="0">
                      <a:pos x="211" y="320"/>
                    </a:cxn>
                    <a:cxn ang="0">
                      <a:pos x="274" y="362"/>
                    </a:cxn>
                    <a:cxn ang="0">
                      <a:pos x="197" y="182"/>
                    </a:cxn>
                    <a:cxn ang="0">
                      <a:pos x="144" y="94"/>
                    </a:cxn>
                    <a:cxn ang="0">
                      <a:pos x="192" y="0"/>
                    </a:cxn>
                  </a:cxnLst>
                  <a:rect l="0" t="0" r="r" b="b"/>
                  <a:pathLst>
                    <a:path w="274" h="362">
                      <a:moveTo>
                        <a:pt x="173" y="43"/>
                      </a:moveTo>
                      <a:cubicBezTo>
                        <a:pt x="131" y="91"/>
                        <a:pt x="76" y="24"/>
                        <a:pt x="47" y="57"/>
                      </a:cubicBezTo>
                      <a:cubicBezTo>
                        <a:pt x="0" y="111"/>
                        <a:pt x="107" y="119"/>
                        <a:pt x="133" y="133"/>
                      </a:cubicBezTo>
                      <a:cubicBezTo>
                        <a:pt x="142" y="171"/>
                        <a:pt x="169" y="200"/>
                        <a:pt x="181" y="236"/>
                      </a:cubicBezTo>
                      <a:cubicBezTo>
                        <a:pt x="206" y="307"/>
                        <a:pt x="107" y="248"/>
                        <a:pt x="122" y="311"/>
                      </a:cubicBezTo>
                      <a:cubicBezTo>
                        <a:pt x="156" y="316"/>
                        <a:pt x="179" y="302"/>
                        <a:pt x="211" y="320"/>
                      </a:cubicBezTo>
                      <a:cubicBezTo>
                        <a:pt x="235" y="334"/>
                        <a:pt x="245" y="354"/>
                        <a:pt x="274" y="362"/>
                      </a:cubicBezTo>
                      <a:cubicBezTo>
                        <a:pt x="232" y="335"/>
                        <a:pt x="223" y="229"/>
                        <a:pt x="197" y="182"/>
                      </a:cubicBezTo>
                      <a:cubicBezTo>
                        <a:pt x="181" y="153"/>
                        <a:pt x="150" y="128"/>
                        <a:pt x="144" y="94"/>
                      </a:cubicBezTo>
                      <a:cubicBezTo>
                        <a:pt x="136" y="43"/>
                        <a:pt x="186" y="43"/>
                        <a:pt x="192" y="0"/>
                      </a:cubicBezTo>
                    </a:path>
                  </a:pathLst>
                </a:custGeom>
                <a:solidFill>
                  <a:srgbClr val="99999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47" name="Freeform 311"/>
                <p:cNvSpPr>
                  <a:spLocks/>
                </p:cNvSpPr>
                <p:nvPr/>
              </p:nvSpPr>
              <p:spPr bwMode="gray">
                <a:xfrm>
                  <a:off x="5800116" y="2343655"/>
                  <a:ext cx="98944" cy="107877"/>
                </a:xfrm>
                <a:custGeom>
                  <a:avLst/>
                  <a:gdLst/>
                  <a:ahLst/>
                  <a:cxnLst>
                    <a:cxn ang="0">
                      <a:pos x="180" y="199"/>
                    </a:cxn>
                    <a:cxn ang="0">
                      <a:pos x="162" y="77"/>
                    </a:cxn>
                    <a:cxn ang="0">
                      <a:pos x="76" y="28"/>
                    </a:cxn>
                    <a:cxn ang="0">
                      <a:pos x="28" y="94"/>
                    </a:cxn>
                    <a:cxn ang="0">
                      <a:pos x="2" y="175"/>
                    </a:cxn>
                    <a:cxn ang="0">
                      <a:pos x="20" y="148"/>
                    </a:cxn>
                    <a:cxn ang="0">
                      <a:pos x="52" y="125"/>
                    </a:cxn>
                    <a:cxn ang="0">
                      <a:pos x="114" y="78"/>
                    </a:cxn>
                    <a:cxn ang="0">
                      <a:pos x="180" y="191"/>
                    </a:cxn>
                  </a:cxnLst>
                  <a:rect l="0" t="0" r="r" b="b"/>
                  <a:pathLst>
                    <a:path w="183" h="199">
                      <a:moveTo>
                        <a:pt x="180" y="199"/>
                      </a:moveTo>
                      <a:cubicBezTo>
                        <a:pt x="180" y="154"/>
                        <a:pt x="183" y="115"/>
                        <a:pt x="162" y="77"/>
                      </a:cubicBezTo>
                      <a:cubicBezTo>
                        <a:pt x="145" y="47"/>
                        <a:pt x="112" y="0"/>
                        <a:pt x="76" y="28"/>
                      </a:cubicBezTo>
                      <a:cubicBezTo>
                        <a:pt x="72" y="76"/>
                        <a:pt x="57" y="67"/>
                        <a:pt x="28" y="94"/>
                      </a:cubicBezTo>
                      <a:cubicBezTo>
                        <a:pt x="0" y="120"/>
                        <a:pt x="25" y="147"/>
                        <a:pt x="2" y="175"/>
                      </a:cubicBezTo>
                      <a:cubicBezTo>
                        <a:pt x="12" y="169"/>
                        <a:pt x="14" y="155"/>
                        <a:pt x="20" y="148"/>
                      </a:cubicBezTo>
                      <a:cubicBezTo>
                        <a:pt x="34" y="135"/>
                        <a:pt x="36" y="135"/>
                        <a:pt x="52" y="125"/>
                      </a:cubicBezTo>
                      <a:cubicBezTo>
                        <a:pt x="66" y="117"/>
                        <a:pt x="101" y="80"/>
                        <a:pt x="114" y="78"/>
                      </a:cubicBezTo>
                      <a:cubicBezTo>
                        <a:pt x="164" y="70"/>
                        <a:pt x="158" y="165"/>
                        <a:pt x="180" y="191"/>
                      </a:cubicBezTo>
                    </a:path>
                  </a:pathLst>
                </a:custGeom>
                <a:solidFill>
                  <a:srgbClr val="99999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48" name="Freeform 312"/>
                <p:cNvSpPr>
                  <a:spLocks/>
                </p:cNvSpPr>
                <p:nvPr/>
              </p:nvSpPr>
              <p:spPr bwMode="gray">
                <a:xfrm>
                  <a:off x="5728199" y="2242651"/>
                  <a:ext cx="30233" cy="87033"/>
                </a:xfrm>
                <a:custGeom>
                  <a:avLst/>
                  <a:gdLst/>
                  <a:ahLst/>
                  <a:cxnLst>
                    <a:cxn ang="0">
                      <a:pos x="56" y="0"/>
                    </a:cxn>
                    <a:cxn ang="0">
                      <a:pos x="34" y="89"/>
                    </a:cxn>
                    <a:cxn ang="0">
                      <a:pos x="10" y="155"/>
                    </a:cxn>
                    <a:cxn ang="0">
                      <a:pos x="21" y="78"/>
                    </a:cxn>
                  </a:cxnLst>
                  <a:rect l="0" t="0" r="r" b="b"/>
                  <a:pathLst>
                    <a:path w="56" h="161">
                      <a:moveTo>
                        <a:pt x="56" y="0"/>
                      </a:moveTo>
                      <a:cubicBezTo>
                        <a:pt x="49" y="35"/>
                        <a:pt x="30" y="47"/>
                        <a:pt x="34" y="89"/>
                      </a:cubicBezTo>
                      <a:cubicBezTo>
                        <a:pt x="36" y="112"/>
                        <a:pt x="55" y="161"/>
                        <a:pt x="10" y="155"/>
                      </a:cubicBezTo>
                      <a:cubicBezTo>
                        <a:pt x="0" y="123"/>
                        <a:pt x="14" y="107"/>
                        <a:pt x="21" y="78"/>
                      </a:cubicBezTo>
                    </a:path>
                  </a:pathLst>
                </a:custGeom>
                <a:solidFill>
                  <a:srgbClr val="99999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49" name="Freeform 314"/>
                <p:cNvSpPr>
                  <a:spLocks/>
                </p:cNvSpPr>
                <p:nvPr/>
              </p:nvSpPr>
              <p:spPr bwMode="gray">
                <a:xfrm>
                  <a:off x="5898143" y="2506500"/>
                  <a:ext cx="99402" cy="191704"/>
                </a:xfrm>
                <a:custGeom>
                  <a:avLst/>
                  <a:gdLst/>
                  <a:ahLst/>
                  <a:cxnLst>
                    <a:cxn ang="0">
                      <a:pos x="46" y="323"/>
                    </a:cxn>
                    <a:cxn ang="0">
                      <a:pos x="81" y="249"/>
                    </a:cxn>
                    <a:cxn ang="0">
                      <a:pos x="166" y="244"/>
                    </a:cxn>
                    <a:cxn ang="0">
                      <a:pos x="74" y="139"/>
                    </a:cxn>
                    <a:cxn ang="0">
                      <a:pos x="0" y="0"/>
                    </a:cxn>
                    <a:cxn ang="0">
                      <a:pos x="30" y="85"/>
                    </a:cxn>
                    <a:cxn ang="0">
                      <a:pos x="49" y="179"/>
                    </a:cxn>
                    <a:cxn ang="0">
                      <a:pos x="50" y="272"/>
                    </a:cxn>
                    <a:cxn ang="0">
                      <a:pos x="50" y="354"/>
                    </a:cxn>
                  </a:cxnLst>
                  <a:rect l="0" t="0" r="r" b="b"/>
                  <a:pathLst>
                    <a:path w="184" h="354">
                      <a:moveTo>
                        <a:pt x="46" y="323"/>
                      </a:moveTo>
                      <a:cubicBezTo>
                        <a:pt x="53" y="297"/>
                        <a:pt x="55" y="264"/>
                        <a:pt x="81" y="249"/>
                      </a:cubicBezTo>
                      <a:cubicBezTo>
                        <a:pt x="108" y="232"/>
                        <a:pt x="137" y="249"/>
                        <a:pt x="166" y="244"/>
                      </a:cubicBezTo>
                      <a:cubicBezTo>
                        <a:pt x="184" y="213"/>
                        <a:pt x="93" y="159"/>
                        <a:pt x="74" y="139"/>
                      </a:cubicBezTo>
                      <a:cubicBezTo>
                        <a:pt x="48" y="109"/>
                        <a:pt x="33" y="11"/>
                        <a:pt x="0" y="0"/>
                      </a:cubicBezTo>
                      <a:cubicBezTo>
                        <a:pt x="1" y="28"/>
                        <a:pt x="21" y="59"/>
                        <a:pt x="30" y="85"/>
                      </a:cubicBezTo>
                      <a:cubicBezTo>
                        <a:pt x="41" y="115"/>
                        <a:pt x="43" y="150"/>
                        <a:pt x="49" y="179"/>
                      </a:cubicBezTo>
                      <a:cubicBezTo>
                        <a:pt x="56" y="213"/>
                        <a:pt x="59" y="237"/>
                        <a:pt x="50" y="272"/>
                      </a:cubicBezTo>
                      <a:cubicBezTo>
                        <a:pt x="44" y="296"/>
                        <a:pt x="23" y="334"/>
                        <a:pt x="50" y="354"/>
                      </a:cubicBezTo>
                    </a:path>
                  </a:pathLst>
                </a:custGeom>
                <a:solidFill>
                  <a:srgbClr val="99999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50" name="Freeform 318"/>
                <p:cNvSpPr>
                  <a:spLocks/>
                </p:cNvSpPr>
                <p:nvPr/>
              </p:nvSpPr>
              <p:spPr bwMode="gray">
                <a:xfrm>
                  <a:off x="5921963" y="1896348"/>
                  <a:ext cx="105357" cy="169944"/>
                </a:xfrm>
                <a:custGeom>
                  <a:avLst/>
                  <a:gdLst/>
                  <a:ahLst/>
                  <a:cxnLst>
                    <a:cxn ang="0">
                      <a:pos x="0" y="229"/>
                    </a:cxn>
                    <a:cxn ang="0">
                      <a:pos x="8" y="266"/>
                    </a:cxn>
                    <a:cxn ang="0">
                      <a:pos x="30" y="295"/>
                    </a:cxn>
                    <a:cxn ang="0">
                      <a:pos x="173" y="221"/>
                    </a:cxn>
                    <a:cxn ang="0">
                      <a:pos x="189" y="109"/>
                    </a:cxn>
                    <a:cxn ang="0">
                      <a:pos x="170" y="54"/>
                    </a:cxn>
                    <a:cxn ang="0">
                      <a:pos x="168" y="0"/>
                    </a:cxn>
                    <a:cxn ang="0">
                      <a:pos x="170" y="69"/>
                    </a:cxn>
                    <a:cxn ang="0">
                      <a:pos x="164" y="148"/>
                    </a:cxn>
                    <a:cxn ang="0">
                      <a:pos x="152" y="60"/>
                    </a:cxn>
                    <a:cxn ang="0">
                      <a:pos x="142" y="151"/>
                    </a:cxn>
                    <a:cxn ang="0">
                      <a:pos x="126" y="233"/>
                    </a:cxn>
                    <a:cxn ang="0">
                      <a:pos x="55" y="282"/>
                    </a:cxn>
                    <a:cxn ang="0">
                      <a:pos x="6" y="227"/>
                    </a:cxn>
                  </a:cxnLst>
                  <a:rect l="0" t="0" r="r" b="b"/>
                  <a:pathLst>
                    <a:path w="195" h="314">
                      <a:moveTo>
                        <a:pt x="0" y="229"/>
                      </a:moveTo>
                      <a:cubicBezTo>
                        <a:pt x="2" y="238"/>
                        <a:pt x="4" y="256"/>
                        <a:pt x="8" y="266"/>
                      </a:cubicBezTo>
                      <a:cubicBezTo>
                        <a:pt x="13" y="277"/>
                        <a:pt x="25" y="283"/>
                        <a:pt x="30" y="295"/>
                      </a:cubicBezTo>
                      <a:cubicBezTo>
                        <a:pt x="87" y="314"/>
                        <a:pt x="154" y="274"/>
                        <a:pt x="173" y="221"/>
                      </a:cubicBezTo>
                      <a:cubicBezTo>
                        <a:pt x="184" y="193"/>
                        <a:pt x="195" y="140"/>
                        <a:pt x="189" y="109"/>
                      </a:cubicBezTo>
                      <a:cubicBezTo>
                        <a:pt x="186" y="90"/>
                        <a:pt x="173" y="72"/>
                        <a:pt x="170" y="54"/>
                      </a:cubicBezTo>
                      <a:cubicBezTo>
                        <a:pt x="166" y="36"/>
                        <a:pt x="168" y="18"/>
                        <a:pt x="168" y="0"/>
                      </a:cubicBezTo>
                      <a:cubicBezTo>
                        <a:pt x="168" y="24"/>
                        <a:pt x="171" y="48"/>
                        <a:pt x="170" y="69"/>
                      </a:cubicBezTo>
                      <a:cubicBezTo>
                        <a:pt x="168" y="95"/>
                        <a:pt x="163" y="121"/>
                        <a:pt x="164" y="148"/>
                      </a:cubicBezTo>
                      <a:cubicBezTo>
                        <a:pt x="146" y="127"/>
                        <a:pt x="152" y="86"/>
                        <a:pt x="152" y="60"/>
                      </a:cubicBezTo>
                      <a:cubicBezTo>
                        <a:pt x="145" y="89"/>
                        <a:pt x="142" y="120"/>
                        <a:pt x="142" y="151"/>
                      </a:cubicBezTo>
                      <a:cubicBezTo>
                        <a:pt x="142" y="182"/>
                        <a:pt x="146" y="211"/>
                        <a:pt x="126" y="233"/>
                      </a:cubicBezTo>
                      <a:cubicBezTo>
                        <a:pt x="106" y="255"/>
                        <a:pt x="87" y="277"/>
                        <a:pt x="55" y="282"/>
                      </a:cubicBezTo>
                      <a:cubicBezTo>
                        <a:pt x="23" y="286"/>
                        <a:pt x="9" y="252"/>
                        <a:pt x="6" y="227"/>
                      </a:cubicBezTo>
                    </a:path>
                  </a:pathLst>
                </a:custGeom>
                <a:solidFill>
                  <a:srgbClr val="000000"/>
                </a:solidFill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51" name="Freeform 320"/>
                <p:cNvSpPr>
                  <a:spLocks/>
                </p:cNvSpPr>
                <p:nvPr/>
              </p:nvSpPr>
              <p:spPr bwMode="gray">
                <a:xfrm>
                  <a:off x="5880736" y="2062399"/>
                  <a:ext cx="64359" cy="26568"/>
                </a:xfrm>
                <a:custGeom>
                  <a:avLst/>
                  <a:gdLst/>
                  <a:ahLst/>
                  <a:cxnLst>
                    <a:cxn ang="0">
                      <a:pos x="0" y="10"/>
                    </a:cxn>
                    <a:cxn ang="0">
                      <a:pos x="0" y="17"/>
                    </a:cxn>
                    <a:cxn ang="0">
                      <a:pos x="119" y="2"/>
                    </a:cxn>
                    <a:cxn ang="0">
                      <a:pos x="59" y="23"/>
                    </a:cxn>
                    <a:cxn ang="0">
                      <a:pos x="0" y="6"/>
                    </a:cxn>
                  </a:cxnLst>
                  <a:rect l="0" t="0" r="r" b="b"/>
                  <a:pathLst>
                    <a:path w="119" h="49">
                      <a:moveTo>
                        <a:pt x="0" y="10"/>
                      </a:moveTo>
                      <a:cubicBezTo>
                        <a:pt x="0" y="12"/>
                        <a:pt x="0" y="15"/>
                        <a:pt x="0" y="17"/>
                      </a:cubicBezTo>
                      <a:cubicBezTo>
                        <a:pt x="40" y="33"/>
                        <a:pt x="93" y="49"/>
                        <a:pt x="119" y="2"/>
                      </a:cubicBezTo>
                      <a:cubicBezTo>
                        <a:pt x="91" y="0"/>
                        <a:pt x="82" y="16"/>
                        <a:pt x="59" y="23"/>
                      </a:cubicBezTo>
                      <a:cubicBezTo>
                        <a:pt x="29" y="33"/>
                        <a:pt x="26" y="6"/>
                        <a:pt x="0" y="6"/>
                      </a:cubicBezTo>
                    </a:path>
                  </a:pathLst>
                </a:custGeom>
                <a:solidFill>
                  <a:srgbClr val="5E514A"/>
                </a:solidFill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52" name="Freeform 321"/>
                <p:cNvSpPr>
                  <a:spLocks/>
                </p:cNvSpPr>
                <p:nvPr/>
              </p:nvSpPr>
              <p:spPr bwMode="gray">
                <a:xfrm>
                  <a:off x="5880736" y="2062399"/>
                  <a:ext cx="64359" cy="26568"/>
                </a:xfrm>
                <a:custGeom>
                  <a:avLst/>
                  <a:gdLst/>
                  <a:ahLst/>
                  <a:cxnLst>
                    <a:cxn ang="0">
                      <a:pos x="0" y="10"/>
                    </a:cxn>
                    <a:cxn ang="0">
                      <a:pos x="0" y="17"/>
                    </a:cxn>
                    <a:cxn ang="0">
                      <a:pos x="119" y="2"/>
                    </a:cxn>
                    <a:cxn ang="0">
                      <a:pos x="59" y="23"/>
                    </a:cxn>
                    <a:cxn ang="0">
                      <a:pos x="0" y="6"/>
                    </a:cxn>
                  </a:cxnLst>
                  <a:rect l="0" t="0" r="r" b="b"/>
                  <a:pathLst>
                    <a:path w="119" h="49">
                      <a:moveTo>
                        <a:pt x="0" y="10"/>
                      </a:moveTo>
                      <a:cubicBezTo>
                        <a:pt x="0" y="12"/>
                        <a:pt x="0" y="15"/>
                        <a:pt x="0" y="17"/>
                      </a:cubicBezTo>
                      <a:cubicBezTo>
                        <a:pt x="40" y="33"/>
                        <a:pt x="93" y="49"/>
                        <a:pt x="119" y="2"/>
                      </a:cubicBezTo>
                      <a:cubicBezTo>
                        <a:pt x="91" y="0"/>
                        <a:pt x="82" y="16"/>
                        <a:pt x="59" y="23"/>
                      </a:cubicBezTo>
                      <a:cubicBezTo>
                        <a:pt x="29" y="33"/>
                        <a:pt x="26" y="6"/>
                        <a:pt x="0" y="6"/>
                      </a:cubicBezTo>
                    </a:path>
                  </a:pathLst>
                </a:custGeom>
                <a:noFill/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53" name="Freeform 322"/>
                <p:cNvSpPr>
                  <a:spLocks/>
                </p:cNvSpPr>
                <p:nvPr/>
              </p:nvSpPr>
              <p:spPr bwMode="gray">
                <a:xfrm>
                  <a:off x="6028465" y="1968266"/>
                  <a:ext cx="24965" cy="80621"/>
                </a:xfrm>
                <a:custGeom>
                  <a:avLst/>
                  <a:gdLst/>
                  <a:ahLst/>
                  <a:cxnLst>
                    <a:cxn ang="0">
                      <a:pos x="2" y="149"/>
                    </a:cxn>
                    <a:cxn ang="0">
                      <a:pos x="31" y="0"/>
                    </a:cxn>
                    <a:cxn ang="0">
                      <a:pos x="43" y="90"/>
                    </a:cxn>
                    <a:cxn ang="0">
                      <a:pos x="0" y="149"/>
                    </a:cxn>
                  </a:cxnLst>
                  <a:rect l="0" t="0" r="r" b="b"/>
                  <a:pathLst>
                    <a:path w="46" h="149">
                      <a:moveTo>
                        <a:pt x="2" y="149"/>
                      </a:moveTo>
                      <a:cubicBezTo>
                        <a:pt x="44" y="125"/>
                        <a:pt x="31" y="38"/>
                        <a:pt x="31" y="0"/>
                      </a:cubicBezTo>
                      <a:cubicBezTo>
                        <a:pt x="30" y="32"/>
                        <a:pt x="41" y="59"/>
                        <a:pt x="43" y="90"/>
                      </a:cubicBezTo>
                      <a:cubicBezTo>
                        <a:pt x="46" y="121"/>
                        <a:pt x="26" y="137"/>
                        <a:pt x="0" y="149"/>
                      </a:cubicBezTo>
                    </a:path>
                  </a:pathLst>
                </a:custGeom>
                <a:solidFill>
                  <a:srgbClr val="000000"/>
                </a:solidFill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54" name="Freeform 324"/>
                <p:cNvSpPr>
                  <a:spLocks/>
                </p:cNvSpPr>
                <p:nvPr/>
              </p:nvSpPr>
              <p:spPr bwMode="gray">
                <a:xfrm>
                  <a:off x="6065340" y="2012011"/>
                  <a:ext cx="7558" cy="38478"/>
                </a:xfrm>
                <a:custGeom>
                  <a:avLst/>
                  <a:gdLst/>
                  <a:ahLst/>
                  <a:cxnLst>
                    <a:cxn ang="0">
                      <a:pos x="14" y="58"/>
                    </a:cxn>
                    <a:cxn ang="0">
                      <a:pos x="4" y="0"/>
                    </a:cxn>
                    <a:cxn ang="0">
                      <a:pos x="2" y="71"/>
                    </a:cxn>
                    <a:cxn ang="0">
                      <a:pos x="8" y="60"/>
                    </a:cxn>
                  </a:cxnLst>
                  <a:rect l="0" t="0" r="r" b="b"/>
                  <a:pathLst>
                    <a:path w="14" h="71">
                      <a:moveTo>
                        <a:pt x="14" y="58"/>
                      </a:moveTo>
                      <a:cubicBezTo>
                        <a:pt x="14" y="40"/>
                        <a:pt x="13" y="15"/>
                        <a:pt x="4" y="0"/>
                      </a:cubicBezTo>
                      <a:cubicBezTo>
                        <a:pt x="4" y="24"/>
                        <a:pt x="0" y="48"/>
                        <a:pt x="2" y="71"/>
                      </a:cubicBezTo>
                      <a:cubicBezTo>
                        <a:pt x="3" y="65"/>
                        <a:pt x="5" y="65"/>
                        <a:pt x="8" y="60"/>
                      </a:cubicBezTo>
                    </a:path>
                  </a:pathLst>
                </a:custGeom>
                <a:solidFill>
                  <a:srgbClr val="808080">
                    <a:lumMod val="75000"/>
                  </a:srgbClr>
                </a:solidFill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55" name="Freeform 325"/>
                <p:cNvSpPr>
                  <a:spLocks/>
                </p:cNvSpPr>
                <p:nvPr/>
              </p:nvSpPr>
              <p:spPr bwMode="gray">
                <a:xfrm>
                  <a:off x="6065340" y="2012011"/>
                  <a:ext cx="7558" cy="38478"/>
                </a:xfrm>
                <a:custGeom>
                  <a:avLst/>
                  <a:gdLst/>
                  <a:ahLst/>
                  <a:cxnLst>
                    <a:cxn ang="0">
                      <a:pos x="14" y="58"/>
                    </a:cxn>
                    <a:cxn ang="0">
                      <a:pos x="4" y="0"/>
                    </a:cxn>
                    <a:cxn ang="0">
                      <a:pos x="2" y="71"/>
                    </a:cxn>
                    <a:cxn ang="0">
                      <a:pos x="8" y="60"/>
                    </a:cxn>
                  </a:cxnLst>
                  <a:rect l="0" t="0" r="r" b="b"/>
                  <a:pathLst>
                    <a:path w="14" h="71">
                      <a:moveTo>
                        <a:pt x="14" y="58"/>
                      </a:moveTo>
                      <a:cubicBezTo>
                        <a:pt x="14" y="40"/>
                        <a:pt x="13" y="15"/>
                        <a:pt x="4" y="0"/>
                      </a:cubicBezTo>
                      <a:cubicBezTo>
                        <a:pt x="4" y="24"/>
                        <a:pt x="0" y="48"/>
                        <a:pt x="2" y="71"/>
                      </a:cubicBezTo>
                      <a:cubicBezTo>
                        <a:pt x="3" y="65"/>
                        <a:pt x="5" y="65"/>
                        <a:pt x="8" y="60"/>
                      </a:cubicBezTo>
                    </a:path>
                  </a:pathLst>
                </a:custGeom>
                <a:noFill/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56" name="Freeform 328"/>
                <p:cNvSpPr>
                  <a:spLocks/>
                </p:cNvSpPr>
                <p:nvPr/>
              </p:nvSpPr>
              <p:spPr bwMode="gray">
                <a:xfrm>
                  <a:off x="6344993" y="2065605"/>
                  <a:ext cx="55656" cy="19010"/>
                </a:xfrm>
                <a:custGeom>
                  <a:avLst/>
                  <a:gdLst/>
                  <a:ahLst/>
                  <a:cxnLst>
                    <a:cxn ang="0">
                      <a:pos x="58" y="31"/>
                    </a:cxn>
                    <a:cxn ang="0">
                      <a:pos x="0" y="0"/>
                    </a:cxn>
                    <a:cxn ang="0">
                      <a:pos x="103" y="1"/>
                    </a:cxn>
                    <a:cxn ang="0">
                      <a:pos x="54" y="35"/>
                    </a:cxn>
                  </a:cxnLst>
                  <a:rect l="0" t="0" r="r" b="b"/>
                  <a:pathLst>
                    <a:path w="103" h="35">
                      <a:moveTo>
                        <a:pt x="58" y="31"/>
                      </a:moveTo>
                      <a:cubicBezTo>
                        <a:pt x="43" y="30"/>
                        <a:pt x="9" y="15"/>
                        <a:pt x="0" y="0"/>
                      </a:cubicBezTo>
                      <a:cubicBezTo>
                        <a:pt x="33" y="15"/>
                        <a:pt x="71" y="24"/>
                        <a:pt x="103" y="1"/>
                      </a:cubicBezTo>
                      <a:cubicBezTo>
                        <a:pt x="100" y="13"/>
                        <a:pt x="67" y="35"/>
                        <a:pt x="54" y="35"/>
                      </a:cubicBezTo>
                    </a:path>
                  </a:pathLst>
                </a:custGeom>
                <a:solidFill>
                  <a:srgbClr val="5E514A"/>
                </a:solidFill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57" name="Freeform 329"/>
                <p:cNvSpPr>
                  <a:spLocks/>
                </p:cNvSpPr>
                <p:nvPr/>
              </p:nvSpPr>
              <p:spPr bwMode="gray">
                <a:xfrm>
                  <a:off x="6344993" y="2065605"/>
                  <a:ext cx="55656" cy="19010"/>
                </a:xfrm>
                <a:custGeom>
                  <a:avLst/>
                  <a:gdLst/>
                  <a:ahLst/>
                  <a:cxnLst>
                    <a:cxn ang="0">
                      <a:pos x="58" y="31"/>
                    </a:cxn>
                    <a:cxn ang="0">
                      <a:pos x="0" y="0"/>
                    </a:cxn>
                    <a:cxn ang="0">
                      <a:pos x="103" y="1"/>
                    </a:cxn>
                    <a:cxn ang="0">
                      <a:pos x="54" y="35"/>
                    </a:cxn>
                  </a:cxnLst>
                  <a:rect l="0" t="0" r="r" b="b"/>
                  <a:pathLst>
                    <a:path w="103" h="35">
                      <a:moveTo>
                        <a:pt x="58" y="31"/>
                      </a:moveTo>
                      <a:cubicBezTo>
                        <a:pt x="43" y="30"/>
                        <a:pt x="9" y="15"/>
                        <a:pt x="0" y="0"/>
                      </a:cubicBezTo>
                      <a:cubicBezTo>
                        <a:pt x="33" y="15"/>
                        <a:pt x="71" y="24"/>
                        <a:pt x="103" y="1"/>
                      </a:cubicBezTo>
                      <a:cubicBezTo>
                        <a:pt x="100" y="13"/>
                        <a:pt x="67" y="35"/>
                        <a:pt x="54" y="35"/>
                      </a:cubicBezTo>
                    </a:path>
                  </a:pathLst>
                </a:custGeom>
                <a:noFill/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58" name="Freeform 330"/>
                <p:cNvSpPr>
                  <a:spLocks/>
                </p:cNvSpPr>
                <p:nvPr/>
              </p:nvSpPr>
              <p:spPr bwMode="gray">
                <a:xfrm>
                  <a:off x="6125348" y="1732357"/>
                  <a:ext cx="92531" cy="92072"/>
                </a:xfrm>
                <a:custGeom>
                  <a:avLst/>
                  <a:gdLst/>
                  <a:ahLst/>
                  <a:cxnLst>
                    <a:cxn ang="0">
                      <a:pos x="2" y="2"/>
                    </a:cxn>
                    <a:cxn ang="0">
                      <a:pos x="45" y="1"/>
                    </a:cxn>
                    <a:cxn ang="0">
                      <a:pos x="96" y="95"/>
                    </a:cxn>
                    <a:cxn ang="0">
                      <a:pos x="171" y="160"/>
                    </a:cxn>
                    <a:cxn ang="0">
                      <a:pos x="105" y="152"/>
                    </a:cxn>
                    <a:cxn ang="0">
                      <a:pos x="78" y="94"/>
                    </a:cxn>
                    <a:cxn ang="0">
                      <a:pos x="0" y="4"/>
                    </a:cxn>
                  </a:cxnLst>
                  <a:rect l="0" t="0" r="r" b="b"/>
                  <a:pathLst>
                    <a:path w="171" h="170">
                      <a:moveTo>
                        <a:pt x="2" y="2"/>
                      </a:moveTo>
                      <a:cubicBezTo>
                        <a:pt x="16" y="2"/>
                        <a:pt x="30" y="0"/>
                        <a:pt x="45" y="1"/>
                      </a:cubicBezTo>
                      <a:cubicBezTo>
                        <a:pt x="65" y="33"/>
                        <a:pt x="86" y="58"/>
                        <a:pt x="96" y="95"/>
                      </a:cubicBezTo>
                      <a:cubicBezTo>
                        <a:pt x="108" y="139"/>
                        <a:pt x="121" y="160"/>
                        <a:pt x="171" y="160"/>
                      </a:cubicBezTo>
                      <a:cubicBezTo>
                        <a:pt x="146" y="163"/>
                        <a:pt x="122" y="170"/>
                        <a:pt x="105" y="152"/>
                      </a:cubicBezTo>
                      <a:cubicBezTo>
                        <a:pt x="90" y="136"/>
                        <a:pt x="86" y="114"/>
                        <a:pt x="78" y="94"/>
                      </a:cubicBezTo>
                      <a:cubicBezTo>
                        <a:pt x="65" y="60"/>
                        <a:pt x="48" y="2"/>
                        <a:pt x="0" y="4"/>
                      </a:cubicBezTo>
                    </a:path>
                  </a:pathLst>
                </a:custGeom>
                <a:solidFill>
                  <a:srgbClr val="5E514A"/>
                </a:solidFill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59" name="Freeform 331"/>
                <p:cNvSpPr>
                  <a:spLocks/>
                </p:cNvSpPr>
                <p:nvPr/>
              </p:nvSpPr>
              <p:spPr bwMode="gray">
                <a:xfrm>
                  <a:off x="6125348" y="1732357"/>
                  <a:ext cx="92531" cy="92072"/>
                </a:xfrm>
                <a:custGeom>
                  <a:avLst/>
                  <a:gdLst/>
                  <a:ahLst/>
                  <a:cxnLst>
                    <a:cxn ang="0">
                      <a:pos x="2" y="2"/>
                    </a:cxn>
                    <a:cxn ang="0">
                      <a:pos x="45" y="1"/>
                    </a:cxn>
                    <a:cxn ang="0">
                      <a:pos x="96" y="95"/>
                    </a:cxn>
                    <a:cxn ang="0">
                      <a:pos x="171" y="160"/>
                    </a:cxn>
                    <a:cxn ang="0">
                      <a:pos x="105" y="152"/>
                    </a:cxn>
                    <a:cxn ang="0">
                      <a:pos x="78" y="94"/>
                    </a:cxn>
                    <a:cxn ang="0">
                      <a:pos x="0" y="4"/>
                    </a:cxn>
                  </a:cxnLst>
                  <a:rect l="0" t="0" r="r" b="b"/>
                  <a:pathLst>
                    <a:path w="171" h="170">
                      <a:moveTo>
                        <a:pt x="2" y="2"/>
                      </a:moveTo>
                      <a:cubicBezTo>
                        <a:pt x="16" y="2"/>
                        <a:pt x="30" y="0"/>
                        <a:pt x="45" y="1"/>
                      </a:cubicBezTo>
                      <a:cubicBezTo>
                        <a:pt x="65" y="33"/>
                        <a:pt x="86" y="58"/>
                        <a:pt x="96" y="95"/>
                      </a:cubicBezTo>
                      <a:cubicBezTo>
                        <a:pt x="108" y="139"/>
                        <a:pt x="121" y="160"/>
                        <a:pt x="171" y="160"/>
                      </a:cubicBezTo>
                      <a:cubicBezTo>
                        <a:pt x="146" y="163"/>
                        <a:pt x="122" y="170"/>
                        <a:pt x="105" y="152"/>
                      </a:cubicBezTo>
                      <a:cubicBezTo>
                        <a:pt x="90" y="136"/>
                        <a:pt x="86" y="114"/>
                        <a:pt x="78" y="94"/>
                      </a:cubicBezTo>
                      <a:cubicBezTo>
                        <a:pt x="65" y="60"/>
                        <a:pt x="48" y="2"/>
                        <a:pt x="0" y="4"/>
                      </a:cubicBezTo>
                    </a:path>
                  </a:pathLst>
                </a:custGeom>
                <a:solidFill>
                  <a:srgbClr val="000000"/>
                </a:solidFill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60" name="Freeform 332"/>
                <p:cNvSpPr>
                  <a:spLocks/>
                </p:cNvSpPr>
                <p:nvPr/>
              </p:nvSpPr>
              <p:spPr bwMode="gray">
                <a:xfrm>
                  <a:off x="6246966" y="1818476"/>
                  <a:ext cx="41227" cy="136277"/>
                </a:xfrm>
                <a:custGeom>
                  <a:avLst/>
                  <a:gdLst/>
                  <a:ahLst/>
                  <a:cxnLst>
                    <a:cxn ang="0">
                      <a:pos x="18" y="22"/>
                    </a:cxn>
                    <a:cxn ang="0">
                      <a:pos x="38" y="8"/>
                    </a:cxn>
                    <a:cxn ang="0">
                      <a:pos x="56" y="33"/>
                    </a:cxn>
                    <a:cxn ang="0">
                      <a:pos x="71" y="121"/>
                    </a:cxn>
                    <a:cxn ang="0">
                      <a:pos x="1" y="252"/>
                    </a:cxn>
                    <a:cxn ang="0">
                      <a:pos x="23" y="193"/>
                    </a:cxn>
                    <a:cxn ang="0">
                      <a:pos x="44" y="134"/>
                    </a:cxn>
                    <a:cxn ang="0">
                      <a:pos x="47" y="67"/>
                    </a:cxn>
                    <a:cxn ang="0">
                      <a:pos x="20" y="24"/>
                    </a:cxn>
                  </a:cxnLst>
                  <a:rect l="0" t="0" r="r" b="b"/>
                  <a:pathLst>
                    <a:path w="76" h="252">
                      <a:moveTo>
                        <a:pt x="18" y="22"/>
                      </a:moveTo>
                      <a:cubicBezTo>
                        <a:pt x="24" y="10"/>
                        <a:pt x="23" y="0"/>
                        <a:pt x="38" y="8"/>
                      </a:cubicBezTo>
                      <a:cubicBezTo>
                        <a:pt x="46" y="11"/>
                        <a:pt x="52" y="26"/>
                        <a:pt x="56" y="33"/>
                      </a:cubicBezTo>
                      <a:cubicBezTo>
                        <a:pt x="68" y="57"/>
                        <a:pt x="76" y="94"/>
                        <a:pt x="71" y="121"/>
                      </a:cubicBezTo>
                      <a:cubicBezTo>
                        <a:pt x="63" y="165"/>
                        <a:pt x="27" y="216"/>
                        <a:pt x="1" y="252"/>
                      </a:cubicBezTo>
                      <a:cubicBezTo>
                        <a:pt x="0" y="233"/>
                        <a:pt x="17" y="209"/>
                        <a:pt x="23" y="193"/>
                      </a:cubicBezTo>
                      <a:cubicBezTo>
                        <a:pt x="30" y="174"/>
                        <a:pt x="39" y="154"/>
                        <a:pt x="44" y="134"/>
                      </a:cubicBezTo>
                      <a:cubicBezTo>
                        <a:pt x="50" y="112"/>
                        <a:pt x="49" y="90"/>
                        <a:pt x="47" y="67"/>
                      </a:cubicBezTo>
                      <a:cubicBezTo>
                        <a:pt x="45" y="44"/>
                        <a:pt x="36" y="37"/>
                        <a:pt x="20" y="24"/>
                      </a:cubicBezTo>
                    </a:path>
                  </a:pathLst>
                </a:custGeom>
                <a:solidFill>
                  <a:srgbClr val="000000"/>
                </a:solidFill>
                <a:ln w="5" cap="flat">
                  <a:solidFill>
                    <a:srgbClr val="73635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61" name="Freeform 345"/>
                <p:cNvSpPr>
                  <a:spLocks/>
                </p:cNvSpPr>
                <p:nvPr/>
              </p:nvSpPr>
              <p:spPr bwMode="gray">
                <a:xfrm>
                  <a:off x="5741712" y="4445065"/>
                  <a:ext cx="67566" cy="86576"/>
                </a:xfrm>
                <a:custGeom>
                  <a:avLst/>
                  <a:gdLst/>
                  <a:ahLst/>
                  <a:cxnLst>
                    <a:cxn ang="0">
                      <a:pos x="85" y="0"/>
                    </a:cxn>
                    <a:cxn ang="0">
                      <a:pos x="42" y="76"/>
                    </a:cxn>
                    <a:cxn ang="0">
                      <a:pos x="0" y="160"/>
                    </a:cxn>
                    <a:cxn ang="0">
                      <a:pos x="62" y="88"/>
                    </a:cxn>
                    <a:cxn ang="0">
                      <a:pos x="85" y="73"/>
                    </a:cxn>
                    <a:cxn ang="0">
                      <a:pos x="87" y="47"/>
                    </a:cxn>
                    <a:cxn ang="0">
                      <a:pos x="125" y="29"/>
                    </a:cxn>
                    <a:cxn ang="0">
                      <a:pos x="125" y="21"/>
                    </a:cxn>
                    <a:cxn ang="0">
                      <a:pos x="91" y="12"/>
                    </a:cxn>
                  </a:cxnLst>
                  <a:rect l="0" t="0" r="r" b="b"/>
                  <a:pathLst>
                    <a:path w="125" h="160">
                      <a:moveTo>
                        <a:pt x="85" y="0"/>
                      </a:moveTo>
                      <a:cubicBezTo>
                        <a:pt x="55" y="15"/>
                        <a:pt x="56" y="50"/>
                        <a:pt x="42" y="76"/>
                      </a:cubicBezTo>
                      <a:cubicBezTo>
                        <a:pt x="28" y="101"/>
                        <a:pt x="1" y="133"/>
                        <a:pt x="0" y="160"/>
                      </a:cubicBezTo>
                      <a:cubicBezTo>
                        <a:pt x="17" y="132"/>
                        <a:pt x="36" y="108"/>
                        <a:pt x="62" y="88"/>
                      </a:cubicBezTo>
                      <a:cubicBezTo>
                        <a:pt x="70" y="81"/>
                        <a:pt x="79" y="83"/>
                        <a:pt x="85" y="73"/>
                      </a:cubicBezTo>
                      <a:cubicBezTo>
                        <a:pt x="90" y="66"/>
                        <a:pt x="83" y="54"/>
                        <a:pt x="87" y="47"/>
                      </a:cubicBezTo>
                      <a:cubicBezTo>
                        <a:pt x="96" y="33"/>
                        <a:pt x="108" y="27"/>
                        <a:pt x="125" y="29"/>
                      </a:cubicBezTo>
                      <a:cubicBezTo>
                        <a:pt x="125" y="28"/>
                        <a:pt x="125" y="22"/>
                        <a:pt x="125" y="21"/>
                      </a:cubicBezTo>
                      <a:cubicBezTo>
                        <a:pt x="114" y="16"/>
                        <a:pt x="103" y="11"/>
                        <a:pt x="91" y="12"/>
                      </a:cubicBezTo>
                    </a:path>
                  </a:pathLst>
                </a:custGeom>
                <a:solidFill>
                  <a:srgbClr val="F0F0F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75" name="Group 1017"/>
              <p:cNvGrpSpPr/>
              <p:nvPr/>
            </p:nvGrpSpPr>
            <p:grpSpPr>
              <a:xfrm>
                <a:off x="3850022" y="2338161"/>
                <a:ext cx="553917" cy="2026429"/>
                <a:chOff x="6624829" y="1549097"/>
                <a:chExt cx="844245" cy="3088555"/>
              </a:xfrm>
            </p:grpSpPr>
            <p:sp>
              <p:nvSpPr>
                <p:cNvPr id="76" name="Freeform 81"/>
                <p:cNvSpPr>
                  <a:spLocks/>
                </p:cNvSpPr>
                <p:nvPr/>
              </p:nvSpPr>
              <p:spPr bwMode="gray">
                <a:xfrm>
                  <a:off x="6739101" y="4289578"/>
                  <a:ext cx="497771" cy="265569"/>
                </a:xfrm>
                <a:custGeom>
                  <a:avLst/>
                  <a:gdLst/>
                  <a:ahLst/>
                  <a:cxnLst>
                    <a:cxn ang="0">
                      <a:pos x="429" y="101"/>
                    </a:cxn>
                    <a:cxn ang="0">
                      <a:pos x="355" y="179"/>
                    </a:cxn>
                    <a:cxn ang="0">
                      <a:pos x="276" y="240"/>
                    </a:cxn>
                    <a:cxn ang="0">
                      <a:pos x="188" y="309"/>
                    </a:cxn>
                    <a:cxn ang="0">
                      <a:pos x="14" y="421"/>
                    </a:cxn>
                    <a:cxn ang="0">
                      <a:pos x="76" y="477"/>
                    </a:cxn>
                    <a:cxn ang="0">
                      <a:pos x="159" y="490"/>
                    </a:cxn>
                    <a:cxn ang="0">
                      <a:pos x="323" y="467"/>
                    </a:cxn>
                    <a:cxn ang="0">
                      <a:pos x="470" y="412"/>
                    </a:cxn>
                    <a:cxn ang="0">
                      <a:pos x="699" y="376"/>
                    </a:cxn>
                    <a:cxn ang="0">
                      <a:pos x="452" y="112"/>
                    </a:cxn>
                  </a:cxnLst>
                  <a:rect l="0" t="0" r="r" b="b"/>
                  <a:pathLst>
                    <a:path w="922" h="492">
                      <a:moveTo>
                        <a:pt x="429" y="101"/>
                      </a:moveTo>
                      <a:cubicBezTo>
                        <a:pt x="402" y="122"/>
                        <a:pt x="363" y="146"/>
                        <a:pt x="355" y="179"/>
                      </a:cubicBezTo>
                      <a:cubicBezTo>
                        <a:pt x="335" y="183"/>
                        <a:pt x="296" y="222"/>
                        <a:pt x="276" y="240"/>
                      </a:cubicBezTo>
                      <a:cubicBezTo>
                        <a:pt x="247" y="266"/>
                        <a:pt x="226" y="294"/>
                        <a:pt x="188" y="309"/>
                      </a:cubicBezTo>
                      <a:cubicBezTo>
                        <a:pt x="149" y="324"/>
                        <a:pt x="0" y="364"/>
                        <a:pt x="14" y="421"/>
                      </a:cubicBezTo>
                      <a:cubicBezTo>
                        <a:pt x="42" y="435"/>
                        <a:pt x="50" y="466"/>
                        <a:pt x="76" y="477"/>
                      </a:cubicBezTo>
                      <a:cubicBezTo>
                        <a:pt x="92" y="484"/>
                        <a:pt x="143" y="489"/>
                        <a:pt x="159" y="490"/>
                      </a:cubicBezTo>
                      <a:cubicBezTo>
                        <a:pt x="216" y="492"/>
                        <a:pt x="263" y="467"/>
                        <a:pt x="323" y="467"/>
                      </a:cubicBezTo>
                      <a:cubicBezTo>
                        <a:pt x="396" y="467"/>
                        <a:pt x="411" y="447"/>
                        <a:pt x="470" y="412"/>
                      </a:cubicBezTo>
                      <a:cubicBezTo>
                        <a:pt x="539" y="371"/>
                        <a:pt x="622" y="392"/>
                        <a:pt x="699" y="376"/>
                      </a:cubicBezTo>
                      <a:cubicBezTo>
                        <a:pt x="922" y="224"/>
                        <a:pt x="494" y="0"/>
                        <a:pt x="452" y="112"/>
                      </a:cubicBezTo>
                    </a:path>
                  </a:pathLst>
                </a:custGeom>
                <a:solidFill>
                  <a:srgbClr val="0B0C0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77" name="Freeform 82"/>
                <p:cNvSpPr>
                  <a:spLocks/>
                </p:cNvSpPr>
                <p:nvPr/>
              </p:nvSpPr>
              <p:spPr bwMode="gray">
                <a:xfrm>
                  <a:off x="7167395" y="4311747"/>
                  <a:ext cx="301679" cy="325905"/>
                </a:xfrm>
                <a:custGeom>
                  <a:avLst/>
                  <a:gdLst/>
                  <a:ahLst/>
                  <a:cxnLst>
                    <a:cxn ang="0">
                      <a:pos x="36" y="184"/>
                    </a:cxn>
                    <a:cxn ang="0">
                      <a:pos x="99" y="402"/>
                    </a:cxn>
                    <a:cxn ang="0">
                      <a:pos x="156" y="413"/>
                    </a:cxn>
                    <a:cxn ang="0">
                      <a:pos x="183" y="465"/>
                    </a:cxn>
                    <a:cxn ang="0">
                      <a:pos x="261" y="538"/>
                    </a:cxn>
                    <a:cxn ang="0">
                      <a:pos x="532" y="527"/>
                    </a:cxn>
                    <a:cxn ang="0">
                      <a:pos x="409" y="317"/>
                    </a:cxn>
                    <a:cxn ang="0">
                      <a:pos x="341" y="212"/>
                    </a:cxn>
                    <a:cxn ang="0">
                      <a:pos x="257" y="77"/>
                    </a:cxn>
                    <a:cxn ang="0">
                      <a:pos x="48" y="184"/>
                    </a:cxn>
                  </a:cxnLst>
                  <a:rect l="0" t="0" r="r" b="b"/>
                  <a:pathLst>
                    <a:path w="559" h="604">
                      <a:moveTo>
                        <a:pt x="36" y="184"/>
                      </a:moveTo>
                      <a:cubicBezTo>
                        <a:pt x="36" y="271"/>
                        <a:pt x="0" y="373"/>
                        <a:pt x="99" y="402"/>
                      </a:cubicBezTo>
                      <a:cubicBezTo>
                        <a:pt x="122" y="409"/>
                        <a:pt x="136" y="401"/>
                        <a:pt x="156" y="413"/>
                      </a:cubicBezTo>
                      <a:cubicBezTo>
                        <a:pt x="190" y="435"/>
                        <a:pt x="167" y="433"/>
                        <a:pt x="183" y="465"/>
                      </a:cubicBezTo>
                      <a:cubicBezTo>
                        <a:pt x="202" y="505"/>
                        <a:pt x="221" y="523"/>
                        <a:pt x="261" y="538"/>
                      </a:cubicBezTo>
                      <a:cubicBezTo>
                        <a:pt x="323" y="562"/>
                        <a:pt x="501" y="604"/>
                        <a:pt x="532" y="527"/>
                      </a:cubicBezTo>
                      <a:cubicBezTo>
                        <a:pt x="559" y="459"/>
                        <a:pt x="449" y="364"/>
                        <a:pt x="409" y="317"/>
                      </a:cubicBezTo>
                      <a:cubicBezTo>
                        <a:pt x="375" y="277"/>
                        <a:pt x="361" y="259"/>
                        <a:pt x="341" y="212"/>
                      </a:cubicBezTo>
                      <a:cubicBezTo>
                        <a:pt x="323" y="171"/>
                        <a:pt x="292" y="106"/>
                        <a:pt x="257" y="77"/>
                      </a:cubicBezTo>
                      <a:cubicBezTo>
                        <a:pt x="168" y="0"/>
                        <a:pt x="73" y="105"/>
                        <a:pt x="48" y="184"/>
                      </a:cubicBezTo>
                    </a:path>
                  </a:pathLst>
                </a:custGeom>
                <a:solidFill>
                  <a:srgbClr val="000405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78" name="Freeform 84"/>
                <p:cNvSpPr>
                  <a:spLocks/>
                </p:cNvSpPr>
                <p:nvPr/>
              </p:nvSpPr>
              <p:spPr bwMode="gray">
                <a:xfrm>
                  <a:off x="6944335" y="4422820"/>
                  <a:ext cx="187864" cy="71306"/>
                </a:xfrm>
                <a:custGeom>
                  <a:avLst/>
                  <a:gdLst/>
                  <a:ahLst/>
                  <a:cxnLst>
                    <a:cxn ang="0">
                      <a:pos x="315" y="16"/>
                    </a:cxn>
                    <a:cxn ang="0">
                      <a:pos x="146" y="79"/>
                    </a:cxn>
                    <a:cxn ang="0">
                      <a:pos x="0" y="131"/>
                    </a:cxn>
                    <a:cxn ang="0">
                      <a:pos x="167" y="32"/>
                    </a:cxn>
                    <a:cxn ang="0">
                      <a:pos x="252" y="4"/>
                    </a:cxn>
                    <a:cxn ang="0">
                      <a:pos x="299" y="26"/>
                    </a:cxn>
                    <a:cxn ang="0">
                      <a:pos x="307" y="38"/>
                    </a:cxn>
                  </a:cxnLst>
                  <a:rect l="0" t="0" r="r" b="b"/>
                  <a:pathLst>
                    <a:path w="348" h="132">
                      <a:moveTo>
                        <a:pt x="315" y="16"/>
                      </a:moveTo>
                      <a:cubicBezTo>
                        <a:pt x="238" y="16"/>
                        <a:pt x="205" y="34"/>
                        <a:pt x="146" y="79"/>
                      </a:cubicBezTo>
                      <a:cubicBezTo>
                        <a:pt x="99" y="115"/>
                        <a:pt x="61" y="132"/>
                        <a:pt x="0" y="131"/>
                      </a:cubicBezTo>
                      <a:cubicBezTo>
                        <a:pt x="58" y="101"/>
                        <a:pt x="117" y="75"/>
                        <a:pt x="167" y="32"/>
                      </a:cubicBezTo>
                      <a:cubicBezTo>
                        <a:pt x="196" y="8"/>
                        <a:pt x="212" y="9"/>
                        <a:pt x="252" y="4"/>
                      </a:cubicBezTo>
                      <a:cubicBezTo>
                        <a:pt x="264" y="2"/>
                        <a:pt x="348" y="0"/>
                        <a:pt x="299" y="26"/>
                      </a:cubicBezTo>
                      <a:cubicBezTo>
                        <a:pt x="301" y="29"/>
                        <a:pt x="305" y="33"/>
                        <a:pt x="307" y="38"/>
                      </a:cubicBezTo>
                    </a:path>
                  </a:pathLst>
                </a:custGeom>
                <a:solidFill>
                  <a:srgbClr val="F0F0F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79" name="Freeform 86"/>
                <p:cNvSpPr>
                  <a:spLocks/>
                </p:cNvSpPr>
                <p:nvPr/>
              </p:nvSpPr>
              <p:spPr bwMode="gray">
                <a:xfrm>
                  <a:off x="7188878" y="4452074"/>
                  <a:ext cx="116558" cy="132328"/>
                </a:xfrm>
                <a:custGeom>
                  <a:avLst/>
                  <a:gdLst/>
                  <a:ahLst/>
                  <a:cxnLst>
                    <a:cxn ang="0">
                      <a:pos x="36" y="13"/>
                    </a:cxn>
                    <a:cxn ang="0">
                      <a:pos x="216" y="237"/>
                    </a:cxn>
                    <a:cxn ang="0">
                      <a:pos x="108" y="130"/>
                    </a:cxn>
                    <a:cxn ang="0">
                      <a:pos x="27" y="0"/>
                    </a:cxn>
                  </a:cxnLst>
                  <a:rect l="0" t="0" r="r" b="b"/>
                  <a:pathLst>
                    <a:path w="216" h="245">
                      <a:moveTo>
                        <a:pt x="36" y="13"/>
                      </a:moveTo>
                      <a:cubicBezTo>
                        <a:pt x="156" y="33"/>
                        <a:pt x="104" y="200"/>
                        <a:pt x="216" y="237"/>
                      </a:cubicBezTo>
                      <a:cubicBezTo>
                        <a:pt x="163" y="245"/>
                        <a:pt x="127" y="165"/>
                        <a:pt x="108" y="130"/>
                      </a:cubicBezTo>
                      <a:cubicBezTo>
                        <a:pt x="94" y="104"/>
                        <a:pt x="0" y="23"/>
                        <a:pt x="27" y="0"/>
                      </a:cubicBezTo>
                    </a:path>
                  </a:pathLst>
                </a:custGeom>
                <a:solidFill>
                  <a:srgbClr val="F0F0F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80" name="Freeform 90"/>
                <p:cNvSpPr>
                  <a:spLocks/>
                </p:cNvSpPr>
                <p:nvPr/>
              </p:nvSpPr>
              <p:spPr bwMode="gray">
                <a:xfrm>
                  <a:off x="6743444" y="2721303"/>
                  <a:ext cx="636041" cy="1733970"/>
                </a:xfrm>
                <a:custGeom>
                  <a:avLst/>
                  <a:gdLst/>
                  <a:ahLst/>
                  <a:cxnLst>
                    <a:cxn ang="0">
                      <a:pos x="55" y="151"/>
                    </a:cxn>
                    <a:cxn ang="0">
                      <a:pos x="78" y="281"/>
                    </a:cxn>
                    <a:cxn ang="0">
                      <a:pos x="37" y="382"/>
                    </a:cxn>
                    <a:cxn ang="0">
                      <a:pos x="33" y="686"/>
                    </a:cxn>
                    <a:cxn ang="0">
                      <a:pos x="72" y="1082"/>
                    </a:cxn>
                    <a:cxn ang="0">
                      <a:pos x="100" y="1473"/>
                    </a:cxn>
                    <a:cxn ang="0">
                      <a:pos x="203" y="2087"/>
                    </a:cxn>
                    <a:cxn ang="0">
                      <a:pos x="268" y="2377"/>
                    </a:cxn>
                    <a:cxn ang="0">
                      <a:pos x="331" y="2676"/>
                    </a:cxn>
                    <a:cxn ang="0">
                      <a:pos x="331" y="2712"/>
                    </a:cxn>
                    <a:cxn ang="0">
                      <a:pos x="360" y="2865"/>
                    </a:cxn>
                    <a:cxn ang="0">
                      <a:pos x="398" y="3028"/>
                    </a:cxn>
                    <a:cxn ang="0">
                      <a:pos x="465" y="3046"/>
                    </a:cxn>
                    <a:cxn ang="0">
                      <a:pos x="551" y="3097"/>
                    </a:cxn>
                    <a:cxn ang="0">
                      <a:pos x="746" y="3164"/>
                    </a:cxn>
                    <a:cxn ang="0">
                      <a:pos x="765" y="2895"/>
                    </a:cxn>
                    <a:cxn ang="0">
                      <a:pos x="699" y="2595"/>
                    </a:cxn>
                    <a:cxn ang="0">
                      <a:pos x="664" y="2318"/>
                    </a:cxn>
                    <a:cxn ang="0">
                      <a:pos x="668" y="2009"/>
                    </a:cxn>
                    <a:cxn ang="0">
                      <a:pos x="635" y="1824"/>
                    </a:cxn>
                    <a:cxn ang="0">
                      <a:pos x="658" y="1638"/>
                    </a:cxn>
                    <a:cxn ang="0">
                      <a:pos x="613" y="1458"/>
                    </a:cxn>
                    <a:cxn ang="0">
                      <a:pos x="614" y="1261"/>
                    </a:cxn>
                    <a:cxn ang="0">
                      <a:pos x="681" y="1356"/>
                    </a:cxn>
                    <a:cxn ang="0">
                      <a:pos x="699" y="1501"/>
                    </a:cxn>
                    <a:cxn ang="0">
                      <a:pos x="742" y="1767"/>
                    </a:cxn>
                    <a:cxn ang="0">
                      <a:pos x="709" y="2110"/>
                    </a:cxn>
                    <a:cxn ang="0">
                      <a:pos x="720" y="2437"/>
                    </a:cxn>
                    <a:cxn ang="0">
                      <a:pos x="708" y="2657"/>
                    </a:cxn>
                    <a:cxn ang="0">
                      <a:pos x="681" y="2858"/>
                    </a:cxn>
                    <a:cxn ang="0">
                      <a:pos x="761" y="3062"/>
                    </a:cxn>
                    <a:cxn ang="0">
                      <a:pos x="888" y="3206"/>
                    </a:cxn>
                    <a:cxn ang="0">
                      <a:pos x="1108" y="3109"/>
                    </a:cxn>
                    <a:cxn ang="0">
                      <a:pos x="1125" y="2843"/>
                    </a:cxn>
                    <a:cxn ang="0">
                      <a:pos x="1125" y="2765"/>
                    </a:cxn>
                    <a:cxn ang="0">
                      <a:pos x="1108" y="2702"/>
                    </a:cxn>
                    <a:cxn ang="0">
                      <a:pos x="1148" y="2578"/>
                    </a:cxn>
                    <a:cxn ang="0">
                      <a:pos x="1148" y="2229"/>
                    </a:cxn>
                    <a:cxn ang="0">
                      <a:pos x="1153" y="2071"/>
                    </a:cxn>
                    <a:cxn ang="0">
                      <a:pos x="1125" y="1914"/>
                    </a:cxn>
                    <a:cxn ang="0">
                      <a:pos x="1148" y="1587"/>
                    </a:cxn>
                    <a:cxn ang="0">
                      <a:pos x="1142" y="1282"/>
                    </a:cxn>
                    <a:cxn ang="0">
                      <a:pos x="1153" y="1092"/>
                    </a:cxn>
                    <a:cxn ang="0">
                      <a:pos x="1125" y="911"/>
                    </a:cxn>
                    <a:cxn ang="0">
                      <a:pos x="1107" y="541"/>
                    </a:cxn>
                    <a:cxn ang="0">
                      <a:pos x="1024" y="168"/>
                    </a:cxn>
                    <a:cxn ang="0">
                      <a:pos x="731" y="17"/>
                    </a:cxn>
                    <a:cxn ang="0">
                      <a:pos x="152" y="79"/>
                    </a:cxn>
                    <a:cxn ang="0">
                      <a:pos x="72" y="151"/>
                    </a:cxn>
                  </a:cxnLst>
                  <a:rect l="0" t="0" r="r" b="b"/>
                  <a:pathLst>
                    <a:path w="1178" h="3212">
                      <a:moveTo>
                        <a:pt x="55" y="151"/>
                      </a:moveTo>
                      <a:cubicBezTo>
                        <a:pt x="49" y="196"/>
                        <a:pt x="81" y="231"/>
                        <a:pt x="78" y="281"/>
                      </a:cubicBezTo>
                      <a:cubicBezTo>
                        <a:pt x="75" y="326"/>
                        <a:pt x="52" y="346"/>
                        <a:pt x="37" y="382"/>
                      </a:cubicBezTo>
                      <a:cubicBezTo>
                        <a:pt x="0" y="468"/>
                        <a:pt x="24" y="594"/>
                        <a:pt x="33" y="686"/>
                      </a:cubicBezTo>
                      <a:cubicBezTo>
                        <a:pt x="45" y="819"/>
                        <a:pt x="58" y="950"/>
                        <a:pt x="72" y="1082"/>
                      </a:cubicBezTo>
                      <a:cubicBezTo>
                        <a:pt x="86" y="1213"/>
                        <a:pt x="107" y="1338"/>
                        <a:pt x="100" y="1473"/>
                      </a:cubicBezTo>
                      <a:cubicBezTo>
                        <a:pt x="90" y="1687"/>
                        <a:pt x="167" y="1885"/>
                        <a:pt x="203" y="2087"/>
                      </a:cubicBezTo>
                      <a:cubicBezTo>
                        <a:pt x="221" y="2184"/>
                        <a:pt x="253" y="2275"/>
                        <a:pt x="268" y="2377"/>
                      </a:cubicBezTo>
                      <a:cubicBezTo>
                        <a:pt x="282" y="2471"/>
                        <a:pt x="342" y="2574"/>
                        <a:pt x="331" y="2676"/>
                      </a:cubicBezTo>
                      <a:cubicBezTo>
                        <a:pt x="330" y="2688"/>
                        <a:pt x="331" y="2700"/>
                        <a:pt x="331" y="2712"/>
                      </a:cubicBezTo>
                      <a:cubicBezTo>
                        <a:pt x="268" y="2741"/>
                        <a:pt x="351" y="2832"/>
                        <a:pt x="360" y="2865"/>
                      </a:cubicBezTo>
                      <a:cubicBezTo>
                        <a:pt x="375" y="2925"/>
                        <a:pt x="339" y="2982"/>
                        <a:pt x="398" y="3028"/>
                      </a:cubicBezTo>
                      <a:cubicBezTo>
                        <a:pt x="420" y="3045"/>
                        <a:pt x="440" y="3037"/>
                        <a:pt x="465" y="3046"/>
                      </a:cubicBezTo>
                      <a:cubicBezTo>
                        <a:pt x="487" y="3054"/>
                        <a:pt x="527" y="3085"/>
                        <a:pt x="551" y="3097"/>
                      </a:cubicBezTo>
                      <a:cubicBezTo>
                        <a:pt x="609" y="3126"/>
                        <a:pt x="681" y="3156"/>
                        <a:pt x="746" y="3164"/>
                      </a:cubicBezTo>
                      <a:cubicBezTo>
                        <a:pt x="725" y="3072"/>
                        <a:pt x="773" y="2987"/>
                        <a:pt x="765" y="2895"/>
                      </a:cubicBezTo>
                      <a:cubicBezTo>
                        <a:pt x="757" y="2795"/>
                        <a:pt x="726" y="2690"/>
                        <a:pt x="699" y="2595"/>
                      </a:cubicBezTo>
                      <a:cubicBezTo>
                        <a:pt x="673" y="2503"/>
                        <a:pt x="654" y="2417"/>
                        <a:pt x="664" y="2318"/>
                      </a:cubicBezTo>
                      <a:cubicBezTo>
                        <a:pt x="673" y="2225"/>
                        <a:pt x="695" y="2102"/>
                        <a:pt x="668" y="2009"/>
                      </a:cubicBezTo>
                      <a:cubicBezTo>
                        <a:pt x="650" y="1949"/>
                        <a:pt x="625" y="1893"/>
                        <a:pt x="635" y="1824"/>
                      </a:cubicBezTo>
                      <a:cubicBezTo>
                        <a:pt x="646" y="1757"/>
                        <a:pt x="672" y="1710"/>
                        <a:pt x="658" y="1638"/>
                      </a:cubicBezTo>
                      <a:cubicBezTo>
                        <a:pt x="645" y="1572"/>
                        <a:pt x="613" y="1532"/>
                        <a:pt x="613" y="1458"/>
                      </a:cubicBezTo>
                      <a:cubicBezTo>
                        <a:pt x="613" y="1392"/>
                        <a:pt x="610" y="1326"/>
                        <a:pt x="614" y="1261"/>
                      </a:cubicBezTo>
                      <a:cubicBezTo>
                        <a:pt x="645" y="1296"/>
                        <a:pt x="669" y="1309"/>
                        <a:pt x="681" y="1356"/>
                      </a:cubicBezTo>
                      <a:cubicBezTo>
                        <a:pt x="693" y="1402"/>
                        <a:pt x="692" y="1455"/>
                        <a:pt x="699" y="1501"/>
                      </a:cubicBezTo>
                      <a:cubicBezTo>
                        <a:pt x="712" y="1593"/>
                        <a:pt x="742" y="1668"/>
                        <a:pt x="742" y="1767"/>
                      </a:cubicBezTo>
                      <a:cubicBezTo>
                        <a:pt x="742" y="1887"/>
                        <a:pt x="727" y="1996"/>
                        <a:pt x="709" y="2110"/>
                      </a:cubicBezTo>
                      <a:cubicBezTo>
                        <a:pt x="692" y="2218"/>
                        <a:pt x="720" y="2327"/>
                        <a:pt x="720" y="2437"/>
                      </a:cubicBezTo>
                      <a:cubicBezTo>
                        <a:pt x="720" y="2509"/>
                        <a:pt x="719" y="2585"/>
                        <a:pt x="708" y="2657"/>
                      </a:cubicBezTo>
                      <a:cubicBezTo>
                        <a:pt x="698" y="2726"/>
                        <a:pt x="676" y="2784"/>
                        <a:pt x="681" y="2858"/>
                      </a:cubicBezTo>
                      <a:cubicBezTo>
                        <a:pt x="685" y="2936"/>
                        <a:pt x="733" y="2993"/>
                        <a:pt x="761" y="3062"/>
                      </a:cubicBezTo>
                      <a:cubicBezTo>
                        <a:pt x="779" y="3106"/>
                        <a:pt x="832" y="3212"/>
                        <a:pt x="888" y="3206"/>
                      </a:cubicBezTo>
                      <a:cubicBezTo>
                        <a:pt x="920" y="3108"/>
                        <a:pt x="1051" y="3169"/>
                        <a:pt x="1108" y="3109"/>
                      </a:cubicBezTo>
                      <a:cubicBezTo>
                        <a:pt x="1178" y="3035"/>
                        <a:pt x="1133" y="2934"/>
                        <a:pt x="1125" y="2843"/>
                      </a:cubicBezTo>
                      <a:cubicBezTo>
                        <a:pt x="1123" y="2817"/>
                        <a:pt x="1129" y="2790"/>
                        <a:pt x="1125" y="2765"/>
                      </a:cubicBezTo>
                      <a:cubicBezTo>
                        <a:pt x="1122" y="2744"/>
                        <a:pt x="1107" y="2723"/>
                        <a:pt x="1108" y="2702"/>
                      </a:cubicBezTo>
                      <a:cubicBezTo>
                        <a:pt x="1111" y="2665"/>
                        <a:pt x="1139" y="2616"/>
                        <a:pt x="1148" y="2578"/>
                      </a:cubicBezTo>
                      <a:cubicBezTo>
                        <a:pt x="1175" y="2463"/>
                        <a:pt x="1153" y="2350"/>
                        <a:pt x="1148" y="2229"/>
                      </a:cubicBezTo>
                      <a:cubicBezTo>
                        <a:pt x="1145" y="2175"/>
                        <a:pt x="1151" y="2124"/>
                        <a:pt x="1153" y="2071"/>
                      </a:cubicBezTo>
                      <a:cubicBezTo>
                        <a:pt x="1156" y="2014"/>
                        <a:pt x="1131" y="1968"/>
                        <a:pt x="1125" y="1914"/>
                      </a:cubicBezTo>
                      <a:cubicBezTo>
                        <a:pt x="1112" y="1802"/>
                        <a:pt x="1143" y="1694"/>
                        <a:pt x="1148" y="1587"/>
                      </a:cubicBezTo>
                      <a:cubicBezTo>
                        <a:pt x="1153" y="1484"/>
                        <a:pt x="1137" y="1386"/>
                        <a:pt x="1142" y="1282"/>
                      </a:cubicBezTo>
                      <a:cubicBezTo>
                        <a:pt x="1145" y="1218"/>
                        <a:pt x="1154" y="1157"/>
                        <a:pt x="1153" y="1092"/>
                      </a:cubicBezTo>
                      <a:cubicBezTo>
                        <a:pt x="1153" y="1028"/>
                        <a:pt x="1131" y="969"/>
                        <a:pt x="1125" y="911"/>
                      </a:cubicBezTo>
                      <a:cubicBezTo>
                        <a:pt x="1114" y="786"/>
                        <a:pt x="1151" y="664"/>
                        <a:pt x="1107" y="541"/>
                      </a:cubicBezTo>
                      <a:cubicBezTo>
                        <a:pt x="1063" y="418"/>
                        <a:pt x="1051" y="297"/>
                        <a:pt x="1024" y="168"/>
                      </a:cubicBezTo>
                      <a:cubicBezTo>
                        <a:pt x="1000" y="52"/>
                        <a:pt x="839" y="26"/>
                        <a:pt x="731" y="17"/>
                      </a:cubicBezTo>
                      <a:cubicBezTo>
                        <a:pt x="534" y="0"/>
                        <a:pt x="335" y="29"/>
                        <a:pt x="152" y="79"/>
                      </a:cubicBezTo>
                      <a:cubicBezTo>
                        <a:pt x="146" y="114"/>
                        <a:pt x="107" y="143"/>
                        <a:pt x="72" y="151"/>
                      </a:cubicBezTo>
                    </a:path>
                  </a:pathLst>
                </a:custGeom>
                <a:solidFill>
                  <a:srgbClr val="0E80A5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81" name="Freeform 91"/>
                <p:cNvSpPr>
                  <a:spLocks/>
                </p:cNvSpPr>
                <p:nvPr/>
              </p:nvSpPr>
              <p:spPr bwMode="gray">
                <a:xfrm>
                  <a:off x="6886056" y="1776956"/>
                  <a:ext cx="276996" cy="381213"/>
                </a:xfrm>
                <a:custGeom>
                  <a:avLst/>
                  <a:gdLst/>
                  <a:ahLst/>
                  <a:cxnLst>
                    <a:cxn ang="0">
                      <a:pos x="122" y="205"/>
                    </a:cxn>
                    <a:cxn ang="0">
                      <a:pos x="141" y="437"/>
                    </a:cxn>
                    <a:cxn ang="0">
                      <a:pos x="214" y="683"/>
                    </a:cxn>
                    <a:cxn ang="0">
                      <a:pos x="488" y="510"/>
                    </a:cxn>
                    <a:cxn ang="0">
                      <a:pos x="407" y="124"/>
                    </a:cxn>
                    <a:cxn ang="0">
                      <a:pos x="143" y="184"/>
                    </a:cxn>
                  </a:cxnLst>
                  <a:rect l="0" t="0" r="r" b="b"/>
                  <a:pathLst>
                    <a:path w="513" h="706">
                      <a:moveTo>
                        <a:pt x="122" y="205"/>
                      </a:moveTo>
                      <a:cubicBezTo>
                        <a:pt x="137" y="280"/>
                        <a:pt x="146" y="354"/>
                        <a:pt x="141" y="437"/>
                      </a:cubicBezTo>
                      <a:cubicBezTo>
                        <a:pt x="0" y="522"/>
                        <a:pt x="74" y="660"/>
                        <a:pt x="214" y="683"/>
                      </a:cubicBezTo>
                      <a:cubicBezTo>
                        <a:pt x="351" y="706"/>
                        <a:pt x="455" y="646"/>
                        <a:pt x="488" y="510"/>
                      </a:cubicBezTo>
                      <a:cubicBezTo>
                        <a:pt x="513" y="407"/>
                        <a:pt x="455" y="214"/>
                        <a:pt x="407" y="124"/>
                      </a:cubicBezTo>
                      <a:cubicBezTo>
                        <a:pt x="342" y="0"/>
                        <a:pt x="146" y="43"/>
                        <a:pt x="143" y="184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82" name="Freeform 92"/>
                <p:cNvSpPr>
                  <a:spLocks/>
                </p:cNvSpPr>
                <p:nvPr/>
              </p:nvSpPr>
              <p:spPr bwMode="gray">
                <a:xfrm>
                  <a:off x="7123057" y="1925510"/>
                  <a:ext cx="22626" cy="37253"/>
                </a:xfrm>
                <a:custGeom>
                  <a:avLst/>
                  <a:gdLst/>
                  <a:ahLst/>
                  <a:cxnLst>
                    <a:cxn ang="0">
                      <a:pos x="20" y="45"/>
                    </a:cxn>
                    <a:cxn ang="0">
                      <a:pos x="42" y="69"/>
                    </a:cxn>
                    <a:cxn ang="0">
                      <a:pos x="37" y="42"/>
                    </a:cxn>
                    <a:cxn ang="0">
                      <a:pos x="26" y="12"/>
                    </a:cxn>
                    <a:cxn ang="0">
                      <a:pos x="14" y="4"/>
                    </a:cxn>
                    <a:cxn ang="0">
                      <a:pos x="5" y="17"/>
                    </a:cxn>
                    <a:cxn ang="0">
                      <a:pos x="18" y="45"/>
                    </a:cxn>
                  </a:cxnLst>
                  <a:rect l="0" t="0" r="r" b="b"/>
                  <a:pathLst>
                    <a:path w="42" h="69">
                      <a:moveTo>
                        <a:pt x="20" y="45"/>
                      </a:moveTo>
                      <a:cubicBezTo>
                        <a:pt x="26" y="51"/>
                        <a:pt x="34" y="66"/>
                        <a:pt x="42" y="69"/>
                      </a:cubicBezTo>
                      <a:cubicBezTo>
                        <a:pt x="42" y="59"/>
                        <a:pt x="39" y="51"/>
                        <a:pt x="37" y="42"/>
                      </a:cubicBezTo>
                      <a:cubicBezTo>
                        <a:pt x="34" y="29"/>
                        <a:pt x="30" y="22"/>
                        <a:pt x="26" y="12"/>
                      </a:cubicBezTo>
                      <a:cubicBezTo>
                        <a:pt x="22" y="5"/>
                        <a:pt x="22" y="0"/>
                        <a:pt x="14" y="4"/>
                      </a:cubicBezTo>
                      <a:cubicBezTo>
                        <a:pt x="11" y="5"/>
                        <a:pt x="6" y="14"/>
                        <a:pt x="5" y="17"/>
                      </a:cubicBezTo>
                      <a:cubicBezTo>
                        <a:pt x="0" y="32"/>
                        <a:pt x="16" y="37"/>
                        <a:pt x="18" y="45"/>
                      </a:cubicBezTo>
                    </a:path>
                  </a:pathLst>
                </a:custGeom>
                <a:solidFill>
                  <a:srgbClr val="E2CEC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83" name="Freeform 93"/>
                <p:cNvSpPr>
                  <a:spLocks/>
                </p:cNvSpPr>
                <p:nvPr/>
              </p:nvSpPr>
              <p:spPr bwMode="gray">
                <a:xfrm>
                  <a:off x="6953477" y="1929853"/>
                  <a:ext cx="186721" cy="110616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3" y="45"/>
                    </a:cxn>
                    <a:cxn ang="0">
                      <a:pos x="45" y="97"/>
                    </a:cxn>
                    <a:cxn ang="0">
                      <a:pos x="125" y="177"/>
                    </a:cxn>
                    <a:cxn ang="0">
                      <a:pos x="246" y="190"/>
                    </a:cxn>
                    <a:cxn ang="0">
                      <a:pos x="346" y="14"/>
                    </a:cxn>
                  </a:cxnLst>
                  <a:rect l="0" t="0" r="r" b="b"/>
                  <a:pathLst>
                    <a:path w="346" h="205">
                      <a:moveTo>
                        <a:pt x="0" y="0"/>
                      </a:moveTo>
                      <a:cubicBezTo>
                        <a:pt x="7" y="19"/>
                        <a:pt x="13" y="29"/>
                        <a:pt x="23" y="45"/>
                      </a:cubicBezTo>
                      <a:cubicBezTo>
                        <a:pt x="33" y="62"/>
                        <a:pt x="33" y="82"/>
                        <a:pt x="45" y="97"/>
                      </a:cubicBezTo>
                      <a:cubicBezTo>
                        <a:pt x="70" y="127"/>
                        <a:pt x="87" y="157"/>
                        <a:pt x="125" y="177"/>
                      </a:cubicBezTo>
                      <a:cubicBezTo>
                        <a:pt x="150" y="191"/>
                        <a:pt x="216" y="205"/>
                        <a:pt x="246" y="190"/>
                      </a:cubicBezTo>
                      <a:cubicBezTo>
                        <a:pt x="303" y="163"/>
                        <a:pt x="346" y="38"/>
                        <a:pt x="346" y="14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84" name="Freeform 94"/>
                <p:cNvSpPr>
                  <a:spLocks/>
                </p:cNvSpPr>
                <p:nvPr/>
              </p:nvSpPr>
              <p:spPr bwMode="gray">
                <a:xfrm>
                  <a:off x="6886056" y="1560981"/>
                  <a:ext cx="294823" cy="461203"/>
                </a:xfrm>
                <a:custGeom>
                  <a:avLst/>
                  <a:gdLst/>
                  <a:ahLst/>
                  <a:cxnLst>
                    <a:cxn ang="0">
                      <a:pos x="48" y="367"/>
                    </a:cxn>
                    <a:cxn ang="0">
                      <a:pos x="1" y="422"/>
                    </a:cxn>
                    <a:cxn ang="0">
                      <a:pos x="43" y="495"/>
                    </a:cxn>
                    <a:cxn ang="0">
                      <a:pos x="63" y="525"/>
                    </a:cxn>
                    <a:cxn ang="0">
                      <a:pos x="76" y="578"/>
                    </a:cxn>
                    <a:cxn ang="0">
                      <a:pos x="132" y="702"/>
                    </a:cxn>
                    <a:cxn ang="0">
                      <a:pos x="171" y="746"/>
                    </a:cxn>
                    <a:cxn ang="0">
                      <a:pos x="251" y="827"/>
                    </a:cxn>
                    <a:cxn ang="0">
                      <a:pos x="372" y="840"/>
                    </a:cxn>
                    <a:cxn ang="0">
                      <a:pos x="473" y="692"/>
                    </a:cxn>
                    <a:cxn ang="0">
                      <a:pos x="511" y="599"/>
                    </a:cxn>
                    <a:cxn ang="0">
                      <a:pos x="529" y="410"/>
                    </a:cxn>
                    <a:cxn ang="0">
                      <a:pos x="372" y="60"/>
                    </a:cxn>
                    <a:cxn ang="0">
                      <a:pos x="112" y="89"/>
                    </a:cxn>
                    <a:cxn ang="0">
                      <a:pos x="40" y="216"/>
                    </a:cxn>
                    <a:cxn ang="0">
                      <a:pos x="48" y="367"/>
                    </a:cxn>
                  </a:cxnLst>
                  <a:rect l="0" t="0" r="r" b="b"/>
                  <a:pathLst>
                    <a:path w="546" h="854">
                      <a:moveTo>
                        <a:pt x="48" y="367"/>
                      </a:moveTo>
                      <a:cubicBezTo>
                        <a:pt x="6" y="358"/>
                        <a:pt x="2" y="391"/>
                        <a:pt x="1" y="422"/>
                      </a:cubicBezTo>
                      <a:cubicBezTo>
                        <a:pt x="0" y="467"/>
                        <a:pt x="17" y="469"/>
                        <a:pt x="43" y="495"/>
                      </a:cubicBezTo>
                      <a:cubicBezTo>
                        <a:pt x="51" y="503"/>
                        <a:pt x="54" y="517"/>
                        <a:pt x="63" y="525"/>
                      </a:cubicBezTo>
                      <a:cubicBezTo>
                        <a:pt x="75" y="534"/>
                        <a:pt x="67" y="564"/>
                        <a:pt x="76" y="578"/>
                      </a:cubicBezTo>
                      <a:cubicBezTo>
                        <a:pt x="92" y="600"/>
                        <a:pt x="122" y="686"/>
                        <a:pt x="132" y="702"/>
                      </a:cubicBezTo>
                      <a:cubicBezTo>
                        <a:pt x="142" y="719"/>
                        <a:pt x="159" y="731"/>
                        <a:pt x="171" y="746"/>
                      </a:cubicBezTo>
                      <a:cubicBezTo>
                        <a:pt x="196" y="777"/>
                        <a:pt x="213" y="806"/>
                        <a:pt x="251" y="827"/>
                      </a:cubicBezTo>
                      <a:cubicBezTo>
                        <a:pt x="277" y="840"/>
                        <a:pt x="342" y="854"/>
                        <a:pt x="372" y="840"/>
                      </a:cubicBezTo>
                      <a:cubicBezTo>
                        <a:pt x="400" y="826"/>
                        <a:pt x="464" y="716"/>
                        <a:pt x="473" y="692"/>
                      </a:cubicBezTo>
                      <a:cubicBezTo>
                        <a:pt x="485" y="660"/>
                        <a:pt x="498" y="628"/>
                        <a:pt x="511" y="599"/>
                      </a:cubicBezTo>
                      <a:cubicBezTo>
                        <a:pt x="537" y="542"/>
                        <a:pt x="521" y="470"/>
                        <a:pt x="529" y="410"/>
                      </a:cubicBezTo>
                      <a:cubicBezTo>
                        <a:pt x="546" y="285"/>
                        <a:pt x="466" y="132"/>
                        <a:pt x="372" y="60"/>
                      </a:cubicBezTo>
                      <a:cubicBezTo>
                        <a:pt x="294" y="0"/>
                        <a:pt x="170" y="12"/>
                        <a:pt x="112" y="89"/>
                      </a:cubicBezTo>
                      <a:cubicBezTo>
                        <a:pt x="88" y="120"/>
                        <a:pt x="55" y="179"/>
                        <a:pt x="40" y="216"/>
                      </a:cubicBezTo>
                      <a:cubicBezTo>
                        <a:pt x="28" y="248"/>
                        <a:pt x="1" y="298"/>
                        <a:pt x="48" y="367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85" name="Freeform 95"/>
                <p:cNvSpPr>
                  <a:spLocks/>
                </p:cNvSpPr>
                <p:nvPr/>
              </p:nvSpPr>
              <p:spPr bwMode="gray">
                <a:xfrm>
                  <a:off x="6624829" y="1958878"/>
                  <a:ext cx="819334" cy="915779"/>
                </a:xfrm>
                <a:custGeom>
                  <a:avLst/>
                  <a:gdLst/>
                  <a:ahLst/>
                  <a:cxnLst>
                    <a:cxn ang="0">
                      <a:pos x="568" y="110"/>
                    </a:cxn>
                    <a:cxn ang="0">
                      <a:pos x="365" y="239"/>
                    </a:cxn>
                    <a:cxn ang="0">
                      <a:pos x="185" y="357"/>
                    </a:cxn>
                    <a:cxn ang="0">
                      <a:pos x="67" y="567"/>
                    </a:cxn>
                    <a:cxn ang="0">
                      <a:pos x="74" y="680"/>
                    </a:cxn>
                    <a:cxn ang="0">
                      <a:pos x="62" y="820"/>
                    </a:cxn>
                    <a:cxn ang="0">
                      <a:pos x="5" y="1011"/>
                    </a:cxn>
                    <a:cxn ang="0">
                      <a:pos x="16" y="1237"/>
                    </a:cxn>
                    <a:cxn ang="0">
                      <a:pos x="101" y="1406"/>
                    </a:cxn>
                    <a:cxn ang="0">
                      <a:pos x="264" y="1417"/>
                    </a:cxn>
                    <a:cxn ang="0">
                      <a:pos x="276" y="1591"/>
                    </a:cxn>
                    <a:cxn ang="0">
                      <a:pos x="731" y="1681"/>
                    </a:cxn>
                    <a:cxn ang="0">
                      <a:pos x="968" y="1655"/>
                    </a:cxn>
                    <a:cxn ang="0">
                      <a:pos x="1154" y="1631"/>
                    </a:cxn>
                    <a:cxn ang="0">
                      <a:pos x="1283" y="1569"/>
                    </a:cxn>
                    <a:cxn ang="0">
                      <a:pos x="1447" y="1147"/>
                    </a:cxn>
                    <a:cxn ang="0">
                      <a:pos x="1509" y="617"/>
                    </a:cxn>
                    <a:cxn ang="0">
                      <a:pos x="1492" y="398"/>
                    </a:cxn>
                    <a:cxn ang="0">
                      <a:pos x="1417" y="202"/>
                    </a:cxn>
                    <a:cxn ang="0">
                      <a:pos x="1014" y="53"/>
                    </a:cxn>
                    <a:cxn ang="0">
                      <a:pos x="745" y="222"/>
                    </a:cxn>
                    <a:cxn ang="0">
                      <a:pos x="608" y="70"/>
                    </a:cxn>
                    <a:cxn ang="0">
                      <a:pos x="535" y="133"/>
                    </a:cxn>
                  </a:cxnLst>
                  <a:rect l="0" t="0" r="r" b="b"/>
                  <a:pathLst>
                    <a:path w="1518" h="1696">
                      <a:moveTo>
                        <a:pt x="568" y="110"/>
                      </a:moveTo>
                      <a:cubicBezTo>
                        <a:pt x="491" y="130"/>
                        <a:pt x="436" y="199"/>
                        <a:pt x="365" y="239"/>
                      </a:cubicBezTo>
                      <a:cubicBezTo>
                        <a:pt x="303" y="273"/>
                        <a:pt x="246" y="311"/>
                        <a:pt x="185" y="357"/>
                      </a:cubicBezTo>
                      <a:cubicBezTo>
                        <a:pt x="127" y="401"/>
                        <a:pt x="49" y="492"/>
                        <a:pt x="67" y="567"/>
                      </a:cubicBezTo>
                      <a:cubicBezTo>
                        <a:pt x="79" y="619"/>
                        <a:pt x="85" y="626"/>
                        <a:pt x="74" y="680"/>
                      </a:cubicBezTo>
                      <a:cubicBezTo>
                        <a:pt x="65" y="726"/>
                        <a:pt x="69" y="773"/>
                        <a:pt x="62" y="820"/>
                      </a:cubicBezTo>
                      <a:cubicBezTo>
                        <a:pt x="52" y="884"/>
                        <a:pt x="11" y="945"/>
                        <a:pt x="5" y="1011"/>
                      </a:cubicBezTo>
                      <a:cubicBezTo>
                        <a:pt x="0" y="1079"/>
                        <a:pt x="9" y="1168"/>
                        <a:pt x="16" y="1237"/>
                      </a:cubicBezTo>
                      <a:cubicBezTo>
                        <a:pt x="22" y="1288"/>
                        <a:pt x="46" y="1388"/>
                        <a:pt x="101" y="1406"/>
                      </a:cubicBezTo>
                      <a:cubicBezTo>
                        <a:pt x="173" y="1429"/>
                        <a:pt x="202" y="1362"/>
                        <a:pt x="264" y="1417"/>
                      </a:cubicBezTo>
                      <a:cubicBezTo>
                        <a:pt x="255" y="1448"/>
                        <a:pt x="169" y="1479"/>
                        <a:pt x="276" y="1591"/>
                      </a:cubicBezTo>
                      <a:cubicBezTo>
                        <a:pt x="319" y="1637"/>
                        <a:pt x="670" y="1696"/>
                        <a:pt x="731" y="1681"/>
                      </a:cubicBezTo>
                      <a:cubicBezTo>
                        <a:pt x="804" y="1663"/>
                        <a:pt x="915" y="1665"/>
                        <a:pt x="968" y="1655"/>
                      </a:cubicBezTo>
                      <a:cubicBezTo>
                        <a:pt x="1014" y="1646"/>
                        <a:pt x="1154" y="1630"/>
                        <a:pt x="1154" y="1631"/>
                      </a:cubicBezTo>
                      <a:cubicBezTo>
                        <a:pt x="1151" y="1611"/>
                        <a:pt x="1278" y="1590"/>
                        <a:pt x="1283" y="1569"/>
                      </a:cubicBezTo>
                      <a:cubicBezTo>
                        <a:pt x="1362" y="1451"/>
                        <a:pt x="1355" y="1386"/>
                        <a:pt x="1447" y="1147"/>
                      </a:cubicBezTo>
                      <a:cubicBezTo>
                        <a:pt x="1509" y="985"/>
                        <a:pt x="1518" y="806"/>
                        <a:pt x="1509" y="617"/>
                      </a:cubicBezTo>
                      <a:cubicBezTo>
                        <a:pt x="1505" y="543"/>
                        <a:pt x="1492" y="476"/>
                        <a:pt x="1492" y="398"/>
                      </a:cubicBezTo>
                      <a:cubicBezTo>
                        <a:pt x="1492" y="311"/>
                        <a:pt x="1485" y="256"/>
                        <a:pt x="1417" y="202"/>
                      </a:cubicBezTo>
                      <a:cubicBezTo>
                        <a:pt x="1308" y="115"/>
                        <a:pt x="1156" y="67"/>
                        <a:pt x="1014" y="53"/>
                      </a:cubicBezTo>
                      <a:cubicBezTo>
                        <a:pt x="988" y="0"/>
                        <a:pt x="813" y="250"/>
                        <a:pt x="745" y="222"/>
                      </a:cubicBezTo>
                      <a:cubicBezTo>
                        <a:pt x="667" y="189"/>
                        <a:pt x="574" y="100"/>
                        <a:pt x="608" y="70"/>
                      </a:cubicBezTo>
                      <a:cubicBezTo>
                        <a:pt x="588" y="98"/>
                        <a:pt x="551" y="100"/>
                        <a:pt x="535" y="133"/>
                      </a:cubicBezTo>
                    </a:path>
                  </a:pathLst>
                </a:custGeom>
                <a:solidFill>
                  <a:srgbClr val="F0F0F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86" name="Freeform 97"/>
                <p:cNvSpPr>
                  <a:spLocks/>
                </p:cNvSpPr>
                <p:nvPr/>
              </p:nvSpPr>
              <p:spPr bwMode="gray">
                <a:xfrm>
                  <a:off x="7003757" y="2445907"/>
                  <a:ext cx="56222" cy="122500"/>
                </a:xfrm>
                <a:custGeom>
                  <a:avLst/>
                  <a:gdLst/>
                  <a:ahLst/>
                  <a:cxnLst>
                    <a:cxn ang="0">
                      <a:pos x="79" y="17"/>
                    </a:cxn>
                    <a:cxn ang="0">
                      <a:pos x="3" y="131"/>
                    </a:cxn>
                    <a:cxn ang="0">
                      <a:pos x="45" y="227"/>
                    </a:cxn>
                    <a:cxn ang="0">
                      <a:pos x="99" y="21"/>
                    </a:cxn>
                    <a:cxn ang="0">
                      <a:pos x="87" y="0"/>
                    </a:cxn>
                  </a:cxnLst>
                  <a:rect l="0" t="0" r="r" b="b"/>
                  <a:pathLst>
                    <a:path w="104" h="227">
                      <a:moveTo>
                        <a:pt x="79" y="17"/>
                      </a:moveTo>
                      <a:cubicBezTo>
                        <a:pt x="44" y="66"/>
                        <a:pt x="6" y="63"/>
                        <a:pt x="3" y="131"/>
                      </a:cubicBezTo>
                      <a:cubicBezTo>
                        <a:pt x="0" y="185"/>
                        <a:pt x="11" y="194"/>
                        <a:pt x="45" y="227"/>
                      </a:cubicBezTo>
                      <a:cubicBezTo>
                        <a:pt x="42" y="170"/>
                        <a:pt x="3" y="39"/>
                        <a:pt x="99" y="21"/>
                      </a:cubicBezTo>
                      <a:cubicBezTo>
                        <a:pt x="104" y="6"/>
                        <a:pt x="97" y="5"/>
                        <a:pt x="87" y="0"/>
                      </a:cubicBezTo>
                    </a:path>
                  </a:pathLst>
                </a:custGeom>
                <a:solidFill>
                  <a:srgbClr val="C0C0C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87" name="Freeform 99"/>
                <p:cNvSpPr>
                  <a:spLocks/>
                </p:cNvSpPr>
                <p:nvPr/>
              </p:nvSpPr>
              <p:spPr bwMode="gray">
                <a:xfrm>
                  <a:off x="6777954" y="2808150"/>
                  <a:ext cx="545308" cy="118843"/>
                </a:xfrm>
                <a:custGeom>
                  <a:avLst/>
                  <a:gdLst/>
                  <a:ahLst/>
                  <a:cxnLst>
                    <a:cxn ang="0">
                      <a:pos x="37" y="13"/>
                    </a:cxn>
                    <a:cxn ang="0">
                      <a:pos x="132" y="45"/>
                    </a:cxn>
                    <a:cxn ang="0">
                      <a:pos x="245" y="69"/>
                    </a:cxn>
                    <a:cxn ang="0">
                      <a:pos x="470" y="86"/>
                    </a:cxn>
                    <a:cxn ang="0">
                      <a:pos x="735" y="69"/>
                    </a:cxn>
                    <a:cxn ang="0">
                      <a:pos x="976" y="37"/>
                    </a:cxn>
                    <a:cxn ang="0">
                      <a:pos x="986" y="148"/>
                    </a:cxn>
                    <a:cxn ang="0">
                      <a:pos x="842" y="187"/>
                    </a:cxn>
                    <a:cxn ang="0">
                      <a:pos x="577" y="215"/>
                    </a:cxn>
                    <a:cxn ang="0">
                      <a:pos x="311" y="194"/>
                    </a:cxn>
                    <a:cxn ang="0">
                      <a:pos x="183" y="159"/>
                    </a:cxn>
                    <a:cxn ang="0">
                      <a:pos x="29" y="121"/>
                    </a:cxn>
                    <a:cxn ang="0">
                      <a:pos x="14" y="120"/>
                    </a:cxn>
                    <a:cxn ang="0">
                      <a:pos x="3" y="24"/>
                    </a:cxn>
                  </a:cxnLst>
                  <a:rect l="0" t="0" r="r" b="b"/>
                  <a:pathLst>
                    <a:path w="1010" h="220">
                      <a:moveTo>
                        <a:pt x="37" y="13"/>
                      </a:moveTo>
                      <a:cubicBezTo>
                        <a:pt x="73" y="16"/>
                        <a:pt x="98" y="32"/>
                        <a:pt x="132" y="45"/>
                      </a:cubicBezTo>
                      <a:cubicBezTo>
                        <a:pt x="171" y="59"/>
                        <a:pt x="206" y="60"/>
                        <a:pt x="245" y="69"/>
                      </a:cubicBezTo>
                      <a:cubicBezTo>
                        <a:pt x="317" y="84"/>
                        <a:pt x="391" y="82"/>
                        <a:pt x="470" y="86"/>
                      </a:cubicBezTo>
                      <a:cubicBezTo>
                        <a:pt x="563" y="90"/>
                        <a:pt x="652" y="100"/>
                        <a:pt x="735" y="69"/>
                      </a:cubicBezTo>
                      <a:cubicBezTo>
                        <a:pt x="797" y="46"/>
                        <a:pt x="909" y="0"/>
                        <a:pt x="976" y="37"/>
                      </a:cubicBezTo>
                      <a:cubicBezTo>
                        <a:pt x="975" y="87"/>
                        <a:pt x="1010" y="114"/>
                        <a:pt x="986" y="148"/>
                      </a:cubicBezTo>
                      <a:cubicBezTo>
                        <a:pt x="970" y="172"/>
                        <a:pt x="869" y="180"/>
                        <a:pt x="842" y="187"/>
                      </a:cubicBezTo>
                      <a:cubicBezTo>
                        <a:pt x="756" y="211"/>
                        <a:pt x="672" y="215"/>
                        <a:pt x="577" y="215"/>
                      </a:cubicBezTo>
                      <a:cubicBezTo>
                        <a:pt x="485" y="215"/>
                        <a:pt x="395" y="220"/>
                        <a:pt x="311" y="194"/>
                      </a:cubicBezTo>
                      <a:cubicBezTo>
                        <a:pt x="267" y="180"/>
                        <a:pt x="226" y="169"/>
                        <a:pt x="183" y="159"/>
                      </a:cubicBezTo>
                      <a:cubicBezTo>
                        <a:pt x="140" y="150"/>
                        <a:pt x="67" y="141"/>
                        <a:pt x="29" y="121"/>
                      </a:cubicBezTo>
                      <a:cubicBezTo>
                        <a:pt x="18" y="115"/>
                        <a:pt x="26" y="124"/>
                        <a:pt x="14" y="120"/>
                      </a:cubicBezTo>
                      <a:cubicBezTo>
                        <a:pt x="9" y="91"/>
                        <a:pt x="0" y="52"/>
                        <a:pt x="3" y="24"/>
                      </a:cubicBezTo>
                    </a:path>
                  </a:pathLst>
                </a:custGeom>
                <a:solidFill>
                  <a:srgbClr val="0B0C0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88" name="Freeform 100"/>
                <p:cNvSpPr>
                  <a:spLocks/>
                </p:cNvSpPr>
                <p:nvPr/>
              </p:nvSpPr>
              <p:spPr bwMode="gray">
                <a:xfrm>
                  <a:off x="6926051" y="2836719"/>
                  <a:ext cx="127300" cy="91875"/>
                </a:xfrm>
                <a:custGeom>
                  <a:avLst/>
                  <a:gdLst/>
                  <a:ahLst/>
                  <a:cxnLst>
                    <a:cxn ang="0">
                      <a:pos x="32" y="131"/>
                    </a:cxn>
                    <a:cxn ang="0">
                      <a:pos x="170" y="141"/>
                    </a:cxn>
                    <a:cxn ang="0">
                      <a:pos x="184" y="39"/>
                    </a:cxn>
                    <a:cxn ang="0">
                      <a:pos x="137" y="26"/>
                    </a:cxn>
                    <a:cxn ang="0">
                      <a:pos x="206" y="20"/>
                    </a:cxn>
                    <a:cxn ang="0">
                      <a:pos x="198" y="152"/>
                    </a:cxn>
                    <a:cxn ang="0">
                      <a:pos x="156" y="168"/>
                    </a:cxn>
                    <a:cxn ang="0">
                      <a:pos x="13" y="151"/>
                    </a:cxn>
                    <a:cxn ang="0">
                      <a:pos x="12" y="40"/>
                    </a:cxn>
                    <a:cxn ang="0">
                      <a:pos x="156" y="13"/>
                    </a:cxn>
                    <a:cxn ang="0">
                      <a:pos x="141" y="37"/>
                    </a:cxn>
                    <a:cxn ang="0">
                      <a:pos x="37" y="61"/>
                    </a:cxn>
                  </a:cxnLst>
                  <a:rect l="0" t="0" r="r" b="b"/>
                  <a:pathLst>
                    <a:path w="236" h="170">
                      <a:moveTo>
                        <a:pt x="32" y="131"/>
                      </a:moveTo>
                      <a:cubicBezTo>
                        <a:pt x="61" y="144"/>
                        <a:pt x="154" y="156"/>
                        <a:pt x="170" y="141"/>
                      </a:cubicBezTo>
                      <a:cubicBezTo>
                        <a:pt x="171" y="124"/>
                        <a:pt x="186" y="58"/>
                        <a:pt x="184" y="39"/>
                      </a:cubicBezTo>
                      <a:cubicBezTo>
                        <a:pt x="164" y="29"/>
                        <a:pt x="137" y="52"/>
                        <a:pt x="137" y="26"/>
                      </a:cubicBezTo>
                      <a:cubicBezTo>
                        <a:pt x="137" y="2"/>
                        <a:pt x="198" y="20"/>
                        <a:pt x="206" y="20"/>
                      </a:cubicBezTo>
                      <a:cubicBezTo>
                        <a:pt x="236" y="20"/>
                        <a:pt x="202" y="124"/>
                        <a:pt x="198" y="152"/>
                      </a:cubicBezTo>
                      <a:cubicBezTo>
                        <a:pt x="195" y="170"/>
                        <a:pt x="180" y="166"/>
                        <a:pt x="156" y="168"/>
                      </a:cubicBezTo>
                      <a:cubicBezTo>
                        <a:pt x="123" y="169"/>
                        <a:pt x="46" y="162"/>
                        <a:pt x="13" y="151"/>
                      </a:cubicBezTo>
                      <a:cubicBezTo>
                        <a:pt x="0" y="147"/>
                        <a:pt x="2" y="88"/>
                        <a:pt x="12" y="40"/>
                      </a:cubicBezTo>
                      <a:cubicBezTo>
                        <a:pt x="20" y="0"/>
                        <a:pt x="123" y="20"/>
                        <a:pt x="156" y="13"/>
                      </a:cubicBezTo>
                      <a:cubicBezTo>
                        <a:pt x="172" y="10"/>
                        <a:pt x="143" y="23"/>
                        <a:pt x="141" y="37"/>
                      </a:cubicBezTo>
                      <a:cubicBezTo>
                        <a:pt x="124" y="38"/>
                        <a:pt x="30" y="30"/>
                        <a:pt x="37" y="61"/>
                      </a:cubicBezTo>
                    </a:path>
                  </a:pathLst>
                </a:custGeom>
                <a:solidFill>
                  <a:srgbClr val="F0F0F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89" name="Freeform 101"/>
                <p:cNvSpPr>
                  <a:spLocks/>
                </p:cNvSpPr>
                <p:nvPr/>
              </p:nvSpPr>
              <p:spPr bwMode="gray">
                <a:xfrm>
                  <a:off x="6861144" y="1549097"/>
                  <a:ext cx="334133" cy="300765"/>
                </a:xfrm>
                <a:custGeom>
                  <a:avLst/>
                  <a:gdLst/>
                  <a:ahLst/>
                  <a:cxnLst>
                    <a:cxn ang="0">
                      <a:pos x="111" y="540"/>
                    </a:cxn>
                    <a:cxn ang="0">
                      <a:pos x="94" y="541"/>
                    </a:cxn>
                    <a:cxn ang="0">
                      <a:pos x="81" y="432"/>
                    </a:cxn>
                    <a:cxn ang="0">
                      <a:pos x="67" y="390"/>
                    </a:cxn>
                    <a:cxn ang="0">
                      <a:pos x="33" y="348"/>
                    </a:cxn>
                    <a:cxn ang="0">
                      <a:pos x="81" y="145"/>
                    </a:cxn>
                    <a:cxn ang="0">
                      <a:pos x="48" y="144"/>
                    </a:cxn>
                    <a:cxn ang="0">
                      <a:pos x="131" y="76"/>
                    </a:cxn>
                    <a:cxn ang="0">
                      <a:pos x="115" y="57"/>
                    </a:cxn>
                    <a:cxn ang="0">
                      <a:pos x="190" y="34"/>
                    </a:cxn>
                    <a:cxn ang="0">
                      <a:pos x="263" y="1"/>
                    </a:cxn>
                    <a:cxn ang="0">
                      <a:pos x="426" y="51"/>
                    </a:cxn>
                    <a:cxn ang="0">
                      <a:pos x="428" y="27"/>
                    </a:cxn>
                    <a:cxn ang="0">
                      <a:pos x="469" y="77"/>
                    </a:cxn>
                    <a:cxn ang="0">
                      <a:pos x="530" y="110"/>
                    </a:cxn>
                    <a:cxn ang="0">
                      <a:pos x="596" y="229"/>
                    </a:cxn>
                    <a:cxn ang="0">
                      <a:pos x="608" y="388"/>
                    </a:cxn>
                    <a:cxn ang="0">
                      <a:pos x="572" y="557"/>
                    </a:cxn>
                    <a:cxn ang="0">
                      <a:pos x="546" y="457"/>
                    </a:cxn>
                    <a:cxn ang="0">
                      <a:pos x="550" y="313"/>
                    </a:cxn>
                    <a:cxn ang="0">
                      <a:pos x="482" y="216"/>
                    </a:cxn>
                    <a:cxn ang="0">
                      <a:pos x="348" y="216"/>
                    </a:cxn>
                    <a:cxn ang="0">
                      <a:pos x="327" y="191"/>
                    </a:cxn>
                    <a:cxn ang="0">
                      <a:pos x="334" y="228"/>
                    </a:cxn>
                    <a:cxn ang="0">
                      <a:pos x="250" y="188"/>
                    </a:cxn>
                    <a:cxn ang="0">
                      <a:pos x="179" y="230"/>
                    </a:cxn>
                    <a:cxn ang="0">
                      <a:pos x="127" y="322"/>
                    </a:cxn>
                    <a:cxn ang="0">
                      <a:pos x="123" y="377"/>
                    </a:cxn>
                    <a:cxn ang="0">
                      <a:pos x="111" y="426"/>
                    </a:cxn>
                    <a:cxn ang="0">
                      <a:pos x="111" y="540"/>
                    </a:cxn>
                  </a:cxnLst>
                  <a:rect l="0" t="0" r="r" b="b"/>
                  <a:pathLst>
                    <a:path w="619" h="557">
                      <a:moveTo>
                        <a:pt x="111" y="540"/>
                      </a:moveTo>
                      <a:cubicBezTo>
                        <a:pt x="85" y="549"/>
                        <a:pt x="102" y="543"/>
                        <a:pt x="94" y="541"/>
                      </a:cubicBezTo>
                      <a:cubicBezTo>
                        <a:pt x="82" y="499"/>
                        <a:pt x="79" y="474"/>
                        <a:pt x="81" y="432"/>
                      </a:cubicBezTo>
                      <a:cubicBezTo>
                        <a:pt x="82" y="415"/>
                        <a:pt x="95" y="378"/>
                        <a:pt x="67" y="390"/>
                      </a:cubicBezTo>
                      <a:cubicBezTo>
                        <a:pt x="56" y="395"/>
                        <a:pt x="44" y="366"/>
                        <a:pt x="33" y="348"/>
                      </a:cubicBezTo>
                      <a:cubicBezTo>
                        <a:pt x="0" y="293"/>
                        <a:pt x="48" y="189"/>
                        <a:pt x="81" y="145"/>
                      </a:cubicBezTo>
                      <a:cubicBezTo>
                        <a:pt x="71" y="147"/>
                        <a:pt x="58" y="142"/>
                        <a:pt x="48" y="144"/>
                      </a:cubicBezTo>
                      <a:cubicBezTo>
                        <a:pt x="52" y="107"/>
                        <a:pt x="97" y="82"/>
                        <a:pt x="131" y="76"/>
                      </a:cubicBezTo>
                      <a:cubicBezTo>
                        <a:pt x="125" y="71"/>
                        <a:pt x="121" y="61"/>
                        <a:pt x="115" y="57"/>
                      </a:cubicBezTo>
                      <a:cubicBezTo>
                        <a:pt x="142" y="51"/>
                        <a:pt x="168" y="47"/>
                        <a:pt x="190" y="34"/>
                      </a:cubicBezTo>
                      <a:cubicBezTo>
                        <a:pt x="220" y="15"/>
                        <a:pt x="222" y="1"/>
                        <a:pt x="263" y="1"/>
                      </a:cubicBezTo>
                      <a:cubicBezTo>
                        <a:pt x="327" y="0"/>
                        <a:pt x="377" y="13"/>
                        <a:pt x="426" y="51"/>
                      </a:cubicBezTo>
                      <a:cubicBezTo>
                        <a:pt x="426" y="44"/>
                        <a:pt x="429" y="34"/>
                        <a:pt x="428" y="27"/>
                      </a:cubicBezTo>
                      <a:cubicBezTo>
                        <a:pt x="443" y="40"/>
                        <a:pt x="453" y="63"/>
                        <a:pt x="469" y="77"/>
                      </a:cubicBezTo>
                      <a:cubicBezTo>
                        <a:pt x="489" y="96"/>
                        <a:pt x="509" y="94"/>
                        <a:pt x="530" y="110"/>
                      </a:cubicBezTo>
                      <a:cubicBezTo>
                        <a:pt x="558" y="130"/>
                        <a:pt x="581" y="197"/>
                        <a:pt x="596" y="229"/>
                      </a:cubicBezTo>
                      <a:cubicBezTo>
                        <a:pt x="617" y="274"/>
                        <a:pt x="619" y="337"/>
                        <a:pt x="608" y="388"/>
                      </a:cubicBezTo>
                      <a:cubicBezTo>
                        <a:pt x="599" y="429"/>
                        <a:pt x="611" y="534"/>
                        <a:pt x="572" y="557"/>
                      </a:cubicBezTo>
                      <a:cubicBezTo>
                        <a:pt x="575" y="530"/>
                        <a:pt x="547" y="490"/>
                        <a:pt x="546" y="457"/>
                      </a:cubicBezTo>
                      <a:cubicBezTo>
                        <a:pt x="544" y="409"/>
                        <a:pt x="556" y="362"/>
                        <a:pt x="550" y="313"/>
                      </a:cubicBezTo>
                      <a:cubicBezTo>
                        <a:pt x="545" y="273"/>
                        <a:pt x="525" y="227"/>
                        <a:pt x="482" y="216"/>
                      </a:cubicBezTo>
                      <a:cubicBezTo>
                        <a:pt x="438" y="205"/>
                        <a:pt x="391" y="230"/>
                        <a:pt x="348" y="216"/>
                      </a:cubicBezTo>
                      <a:cubicBezTo>
                        <a:pt x="343" y="205"/>
                        <a:pt x="333" y="200"/>
                        <a:pt x="327" y="191"/>
                      </a:cubicBezTo>
                      <a:cubicBezTo>
                        <a:pt x="328" y="206"/>
                        <a:pt x="326" y="217"/>
                        <a:pt x="334" y="228"/>
                      </a:cubicBezTo>
                      <a:cubicBezTo>
                        <a:pt x="306" y="232"/>
                        <a:pt x="273" y="204"/>
                        <a:pt x="250" y="188"/>
                      </a:cubicBezTo>
                      <a:cubicBezTo>
                        <a:pt x="267" y="225"/>
                        <a:pt x="201" y="212"/>
                        <a:pt x="179" y="230"/>
                      </a:cubicBezTo>
                      <a:cubicBezTo>
                        <a:pt x="152" y="252"/>
                        <a:pt x="134" y="290"/>
                        <a:pt x="127" y="322"/>
                      </a:cubicBezTo>
                      <a:cubicBezTo>
                        <a:pt x="124" y="339"/>
                        <a:pt x="130" y="360"/>
                        <a:pt x="123" y="377"/>
                      </a:cubicBezTo>
                      <a:cubicBezTo>
                        <a:pt x="116" y="396"/>
                        <a:pt x="116" y="408"/>
                        <a:pt x="111" y="426"/>
                      </a:cubicBezTo>
                      <a:cubicBezTo>
                        <a:pt x="102" y="466"/>
                        <a:pt x="123" y="521"/>
                        <a:pt x="111" y="540"/>
                      </a:cubicBezTo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90" name="Freeform 104"/>
                <p:cNvSpPr>
                  <a:spLocks/>
                </p:cNvSpPr>
                <p:nvPr/>
              </p:nvSpPr>
              <p:spPr bwMode="gray">
                <a:xfrm>
                  <a:off x="6642656" y="2663025"/>
                  <a:ext cx="103074" cy="65821"/>
                </a:xfrm>
                <a:custGeom>
                  <a:avLst/>
                  <a:gdLst/>
                  <a:ahLst/>
                  <a:cxnLst>
                    <a:cxn ang="0">
                      <a:pos x="0" y="6"/>
                    </a:cxn>
                    <a:cxn ang="0">
                      <a:pos x="191" y="83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91" h="122">
                      <a:moveTo>
                        <a:pt x="0" y="6"/>
                      </a:moveTo>
                      <a:cubicBezTo>
                        <a:pt x="46" y="112"/>
                        <a:pt x="71" y="122"/>
                        <a:pt x="191" y="83"/>
                      </a:cubicBezTo>
                      <a:cubicBezTo>
                        <a:pt x="131" y="41"/>
                        <a:pt x="34" y="99"/>
                        <a:pt x="0" y="0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91" name="Freeform 106"/>
                <p:cNvSpPr>
                  <a:spLocks/>
                </p:cNvSpPr>
                <p:nvPr/>
              </p:nvSpPr>
              <p:spPr bwMode="gray">
                <a:xfrm>
                  <a:off x="6861830" y="2533897"/>
                  <a:ext cx="275854" cy="141926"/>
                </a:xfrm>
                <a:custGeom>
                  <a:avLst/>
                  <a:gdLst/>
                  <a:ahLst/>
                  <a:cxnLst>
                    <a:cxn ang="0">
                      <a:pos x="45" y="8"/>
                    </a:cxn>
                    <a:cxn ang="0">
                      <a:pos x="249" y="97"/>
                    </a:cxn>
                    <a:cxn ang="0">
                      <a:pos x="511" y="195"/>
                    </a:cxn>
                    <a:cxn ang="0">
                      <a:pos x="394" y="176"/>
                    </a:cxn>
                    <a:cxn ang="0">
                      <a:pos x="252" y="117"/>
                    </a:cxn>
                    <a:cxn ang="0">
                      <a:pos x="0" y="3"/>
                    </a:cxn>
                  </a:cxnLst>
                  <a:rect l="0" t="0" r="r" b="b"/>
                  <a:pathLst>
                    <a:path w="511" h="263">
                      <a:moveTo>
                        <a:pt x="45" y="8"/>
                      </a:moveTo>
                      <a:cubicBezTo>
                        <a:pt x="120" y="0"/>
                        <a:pt x="186" y="70"/>
                        <a:pt x="249" y="97"/>
                      </a:cubicBezTo>
                      <a:cubicBezTo>
                        <a:pt x="327" y="130"/>
                        <a:pt x="427" y="177"/>
                        <a:pt x="511" y="195"/>
                      </a:cubicBezTo>
                      <a:cubicBezTo>
                        <a:pt x="494" y="263"/>
                        <a:pt x="420" y="190"/>
                        <a:pt x="394" y="176"/>
                      </a:cubicBezTo>
                      <a:cubicBezTo>
                        <a:pt x="349" y="152"/>
                        <a:pt x="299" y="136"/>
                        <a:pt x="252" y="117"/>
                      </a:cubicBezTo>
                      <a:cubicBezTo>
                        <a:pt x="166" y="82"/>
                        <a:pt x="61" y="69"/>
                        <a:pt x="0" y="3"/>
                      </a:cubicBezTo>
                    </a:path>
                  </a:pathLst>
                </a:custGeom>
                <a:solidFill>
                  <a:srgbClr val="C0C0C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92" name="Freeform 107"/>
                <p:cNvSpPr>
                  <a:spLocks/>
                </p:cNvSpPr>
                <p:nvPr/>
              </p:nvSpPr>
              <p:spPr bwMode="gray">
                <a:xfrm>
                  <a:off x="6938850" y="2049610"/>
                  <a:ext cx="231745" cy="112901"/>
                </a:xfrm>
                <a:custGeom>
                  <a:avLst/>
                  <a:gdLst/>
                  <a:ahLst/>
                  <a:cxnLst>
                    <a:cxn ang="0">
                      <a:pos x="51" y="147"/>
                    </a:cxn>
                    <a:cxn ang="0">
                      <a:pos x="46" y="209"/>
                    </a:cxn>
                    <a:cxn ang="0">
                      <a:pos x="103" y="160"/>
                    </a:cxn>
                    <a:cxn ang="0">
                      <a:pos x="178" y="177"/>
                    </a:cxn>
                    <a:cxn ang="0">
                      <a:pos x="220" y="172"/>
                    </a:cxn>
                    <a:cxn ang="0">
                      <a:pos x="254" y="161"/>
                    </a:cxn>
                    <a:cxn ang="0">
                      <a:pos x="309" y="192"/>
                    </a:cxn>
                    <a:cxn ang="0">
                      <a:pos x="309" y="122"/>
                    </a:cxn>
                    <a:cxn ang="0">
                      <a:pos x="394" y="23"/>
                    </a:cxn>
                    <a:cxn ang="0">
                      <a:pos x="262" y="71"/>
                    </a:cxn>
                    <a:cxn ang="0">
                      <a:pos x="106" y="63"/>
                    </a:cxn>
                    <a:cxn ang="0">
                      <a:pos x="14" y="54"/>
                    </a:cxn>
                    <a:cxn ang="0">
                      <a:pos x="47" y="109"/>
                    </a:cxn>
                  </a:cxnLst>
                  <a:rect l="0" t="0" r="r" b="b"/>
                  <a:pathLst>
                    <a:path w="429" h="209">
                      <a:moveTo>
                        <a:pt x="51" y="147"/>
                      </a:moveTo>
                      <a:cubicBezTo>
                        <a:pt x="51" y="168"/>
                        <a:pt x="52" y="189"/>
                        <a:pt x="46" y="209"/>
                      </a:cubicBezTo>
                      <a:cubicBezTo>
                        <a:pt x="56" y="199"/>
                        <a:pt x="91" y="163"/>
                        <a:pt x="103" y="160"/>
                      </a:cubicBezTo>
                      <a:cubicBezTo>
                        <a:pt x="123" y="156"/>
                        <a:pt x="152" y="177"/>
                        <a:pt x="178" y="177"/>
                      </a:cubicBezTo>
                      <a:cubicBezTo>
                        <a:pt x="193" y="177"/>
                        <a:pt x="206" y="175"/>
                        <a:pt x="220" y="172"/>
                      </a:cubicBezTo>
                      <a:cubicBezTo>
                        <a:pt x="224" y="172"/>
                        <a:pt x="260" y="161"/>
                        <a:pt x="254" y="161"/>
                      </a:cubicBezTo>
                      <a:cubicBezTo>
                        <a:pt x="281" y="162"/>
                        <a:pt x="280" y="184"/>
                        <a:pt x="309" y="192"/>
                      </a:cubicBezTo>
                      <a:cubicBezTo>
                        <a:pt x="308" y="169"/>
                        <a:pt x="308" y="145"/>
                        <a:pt x="309" y="122"/>
                      </a:cubicBezTo>
                      <a:cubicBezTo>
                        <a:pt x="341" y="127"/>
                        <a:pt x="429" y="56"/>
                        <a:pt x="394" y="23"/>
                      </a:cubicBezTo>
                      <a:cubicBezTo>
                        <a:pt x="369" y="0"/>
                        <a:pt x="289" y="64"/>
                        <a:pt x="262" y="71"/>
                      </a:cubicBezTo>
                      <a:cubicBezTo>
                        <a:pt x="212" y="84"/>
                        <a:pt x="153" y="86"/>
                        <a:pt x="106" y="63"/>
                      </a:cubicBezTo>
                      <a:cubicBezTo>
                        <a:pt x="86" y="53"/>
                        <a:pt x="32" y="18"/>
                        <a:pt x="14" y="54"/>
                      </a:cubicBezTo>
                      <a:cubicBezTo>
                        <a:pt x="0" y="81"/>
                        <a:pt x="33" y="99"/>
                        <a:pt x="47" y="109"/>
                      </a:cubicBezTo>
                    </a:path>
                  </a:pathLst>
                </a:custGeom>
                <a:solidFill>
                  <a:srgbClr val="C0C0C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93" name="Freeform 108"/>
                <p:cNvSpPr>
                  <a:spLocks/>
                </p:cNvSpPr>
                <p:nvPr/>
              </p:nvSpPr>
              <p:spPr bwMode="gray">
                <a:xfrm>
                  <a:off x="6971303" y="2124801"/>
                  <a:ext cx="110616" cy="334133"/>
                </a:xfrm>
                <a:custGeom>
                  <a:avLst/>
                  <a:gdLst/>
                  <a:ahLst/>
                  <a:cxnLst>
                    <a:cxn ang="0">
                      <a:pos x="181" y="8"/>
                    </a:cxn>
                    <a:cxn ang="0">
                      <a:pos x="160" y="135"/>
                    </a:cxn>
                    <a:cxn ang="0">
                      <a:pos x="184" y="283"/>
                    </a:cxn>
                    <a:cxn ang="0">
                      <a:pos x="177" y="607"/>
                    </a:cxn>
                    <a:cxn ang="0">
                      <a:pos x="89" y="578"/>
                    </a:cxn>
                    <a:cxn ang="0">
                      <a:pos x="80" y="359"/>
                    </a:cxn>
                    <a:cxn ang="0">
                      <a:pos x="89" y="142"/>
                    </a:cxn>
                    <a:cxn ang="0">
                      <a:pos x="160" y="0"/>
                    </a:cxn>
                  </a:cxnLst>
                  <a:rect l="0" t="0" r="r" b="b"/>
                  <a:pathLst>
                    <a:path w="205" h="619">
                      <a:moveTo>
                        <a:pt x="181" y="8"/>
                      </a:moveTo>
                      <a:cubicBezTo>
                        <a:pt x="205" y="54"/>
                        <a:pt x="155" y="85"/>
                        <a:pt x="160" y="135"/>
                      </a:cubicBezTo>
                      <a:cubicBezTo>
                        <a:pt x="164" y="182"/>
                        <a:pt x="179" y="232"/>
                        <a:pt x="184" y="283"/>
                      </a:cubicBezTo>
                      <a:cubicBezTo>
                        <a:pt x="194" y="382"/>
                        <a:pt x="205" y="514"/>
                        <a:pt x="177" y="607"/>
                      </a:cubicBezTo>
                      <a:cubicBezTo>
                        <a:pt x="200" y="619"/>
                        <a:pt x="122" y="584"/>
                        <a:pt x="89" y="578"/>
                      </a:cubicBezTo>
                      <a:cubicBezTo>
                        <a:pt x="0" y="563"/>
                        <a:pt x="72" y="442"/>
                        <a:pt x="80" y="359"/>
                      </a:cubicBezTo>
                      <a:cubicBezTo>
                        <a:pt x="86" y="286"/>
                        <a:pt x="78" y="214"/>
                        <a:pt x="89" y="142"/>
                      </a:cubicBezTo>
                      <a:cubicBezTo>
                        <a:pt x="96" y="92"/>
                        <a:pt x="103" y="15"/>
                        <a:pt x="160" y="0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94" name="Freeform 109"/>
                <p:cNvSpPr>
                  <a:spLocks/>
                </p:cNvSpPr>
                <p:nvPr/>
              </p:nvSpPr>
              <p:spPr bwMode="gray">
                <a:xfrm>
                  <a:off x="6941135" y="2657997"/>
                  <a:ext cx="137584" cy="175065"/>
                </a:xfrm>
                <a:custGeom>
                  <a:avLst/>
                  <a:gdLst/>
                  <a:ahLst/>
                  <a:cxnLst>
                    <a:cxn ang="0">
                      <a:pos x="26" y="291"/>
                    </a:cxn>
                    <a:cxn ang="0">
                      <a:pos x="22" y="324"/>
                    </a:cxn>
                    <a:cxn ang="0">
                      <a:pos x="203" y="218"/>
                    </a:cxn>
                    <a:cxn ang="0">
                      <a:pos x="241" y="118"/>
                    </a:cxn>
                    <a:cxn ang="0">
                      <a:pos x="249" y="1"/>
                    </a:cxn>
                    <a:cxn ang="0">
                      <a:pos x="119" y="151"/>
                    </a:cxn>
                    <a:cxn ang="0">
                      <a:pos x="0" y="308"/>
                    </a:cxn>
                  </a:cxnLst>
                  <a:rect l="0" t="0" r="r" b="b"/>
                  <a:pathLst>
                    <a:path w="255" h="324">
                      <a:moveTo>
                        <a:pt x="26" y="291"/>
                      </a:moveTo>
                      <a:cubicBezTo>
                        <a:pt x="22" y="301"/>
                        <a:pt x="23" y="314"/>
                        <a:pt x="22" y="324"/>
                      </a:cubicBezTo>
                      <a:cubicBezTo>
                        <a:pt x="74" y="321"/>
                        <a:pt x="165" y="255"/>
                        <a:pt x="203" y="218"/>
                      </a:cubicBezTo>
                      <a:cubicBezTo>
                        <a:pt x="237" y="187"/>
                        <a:pt x="239" y="163"/>
                        <a:pt x="241" y="118"/>
                      </a:cubicBezTo>
                      <a:cubicBezTo>
                        <a:pt x="243" y="81"/>
                        <a:pt x="255" y="36"/>
                        <a:pt x="249" y="1"/>
                      </a:cubicBezTo>
                      <a:cubicBezTo>
                        <a:pt x="195" y="0"/>
                        <a:pt x="144" y="111"/>
                        <a:pt x="119" y="151"/>
                      </a:cubicBezTo>
                      <a:cubicBezTo>
                        <a:pt x="83" y="207"/>
                        <a:pt x="30" y="254"/>
                        <a:pt x="0" y="308"/>
                      </a:cubicBezTo>
                    </a:path>
                  </a:pathLst>
                </a:custGeom>
                <a:solidFill>
                  <a:srgbClr val="C3D3D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95" name="Freeform 111"/>
                <p:cNvSpPr>
                  <a:spLocks/>
                </p:cNvSpPr>
                <p:nvPr/>
              </p:nvSpPr>
              <p:spPr bwMode="gray">
                <a:xfrm>
                  <a:off x="6920109" y="2069036"/>
                  <a:ext cx="181236" cy="388298"/>
                </a:xfrm>
                <a:custGeom>
                  <a:avLst/>
                  <a:gdLst/>
                  <a:ahLst/>
                  <a:cxnLst>
                    <a:cxn ang="0">
                      <a:pos x="173" y="120"/>
                    </a:cxn>
                    <a:cxn ang="0">
                      <a:pos x="146" y="37"/>
                    </a:cxn>
                    <a:cxn ang="0">
                      <a:pos x="287" y="110"/>
                    </a:cxn>
                    <a:cxn ang="0">
                      <a:pos x="246" y="222"/>
                    </a:cxn>
                    <a:cxn ang="0">
                      <a:pos x="263" y="351"/>
                    </a:cxn>
                    <a:cxn ang="0">
                      <a:pos x="269" y="650"/>
                    </a:cxn>
                    <a:cxn ang="0">
                      <a:pos x="207" y="701"/>
                    </a:cxn>
                    <a:cxn ang="0">
                      <a:pos x="89" y="672"/>
                    </a:cxn>
                    <a:cxn ang="0">
                      <a:pos x="5" y="660"/>
                    </a:cxn>
                    <a:cxn ang="0">
                      <a:pos x="44" y="362"/>
                    </a:cxn>
                    <a:cxn ang="0">
                      <a:pos x="173" y="120"/>
                    </a:cxn>
                  </a:cxnLst>
                  <a:rect l="0" t="0" r="r" b="b"/>
                  <a:pathLst>
                    <a:path w="336" h="719">
                      <a:moveTo>
                        <a:pt x="173" y="120"/>
                      </a:moveTo>
                      <a:cubicBezTo>
                        <a:pt x="153" y="99"/>
                        <a:pt x="142" y="70"/>
                        <a:pt x="146" y="37"/>
                      </a:cubicBezTo>
                      <a:cubicBezTo>
                        <a:pt x="218" y="0"/>
                        <a:pt x="336" y="3"/>
                        <a:pt x="287" y="110"/>
                      </a:cubicBezTo>
                      <a:cubicBezTo>
                        <a:pt x="268" y="154"/>
                        <a:pt x="242" y="168"/>
                        <a:pt x="246" y="222"/>
                      </a:cubicBezTo>
                      <a:cubicBezTo>
                        <a:pt x="249" y="265"/>
                        <a:pt x="263" y="304"/>
                        <a:pt x="263" y="351"/>
                      </a:cubicBezTo>
                      <a:cubicBezTo>
                        <a:pt x="263" y="452"/>
                        <a:pt x="269" y="550"/>
                        <a:pt x="269" y="650"/>
                      </a:cubicBezTo>
                      <a:cubicBezTo>
                        <a:pt x="269" y="716"/>
                        <a:pt x="265" y="719"/>
                        <a:pt x="207" y="701"/>
                      </a:cubicBezTo>
                      <a:cubicBezTo>
                        <a:pt x="168" y="688"/>
                        <a:pt x="130" y="681"/>
                        <a:pt x="89" y="672"/>
                      </a:cubicBezTo>
                      <a:cubicBezTo>
                        <a:pt x="61" y="666"/>
                        <a:pt x="34" y="663"/>
                        <a:pt x="5" y="660"/>
                      </a:cubicBezTo>
                      <a:cubicBezTo>
                        <a:pt x="0" y="563"/>
                        <a:pt x="10" y="449"/>
                        <a:pt x="44" y="362"/>
                      </a:cubicBezTo>
                      <a:cubicBezTo>
                        <a:pt x="72" y="289"/>
                        <a:pt x="189" y="204"/>
                        <a:pt x="173" y="120"/>
                      </a:cubicBezTo>
                    </a:path>
                  </a:pathLst>
                </a:custGeom>
                <a:solidFill>
                  <a:srgbClr val="FD9B0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96" name="Freeform 112"/>
                <p:cNvSpPr>
                  <a:spLocks/>
                </p:cNvSpPr>
                <p:nvPr/>
              </p:nvSpPr>
              <p:spPr bwMode="gray">
                <a:xfrm>
                  <a:off x="6876228" y="2635371"/>
                  <a:ext cx="192892" cy="196549"/>
                </a:xfrm>
                <a:custGeom>
                  <a:avLst/>
                  <a:gdLst/>
                  <a:ahLst/>
                  <a:cxnLst>
                    <a:cxn ang="0">
                      <a:pos x="66" y="53"/>
                    </a:cxn>
                    <a:cxn ang="0">
                      <a:pos x="28" y="270"/>
                    </a:cxn>
                    <a:cxn ang="0">
                      <a:pos x="121" y="364"/>
                    </a:cxn>
                    <a:cxn ang="0">
                      <a:pos x="323" y="227"/>
                    </a:cxn>
                    <a:cxn ang="0">
                      <a:pos x="343" y="0"/>
                    </a:cxn>
                    <a:cxn ang="0">
                      <a:pos x="66" y="53"/>
                    </a:cxn>
                  </a:cxnLst>
                  <a:rect l="0" t="0" r="r" b="b"/>
                  <a:pathLst>
                    <a:path w="357" h="364">
                      <a:moveTo>
                        <a:pt x="66" y="53"/>
                      </a:moveTo>
                      <a:cubicBezTo>
                        <a:pt x="73" y="113"/>
                        <a:pt x="0" y="234"/>
                        <a:pt x="28" y="270"/>
                      </a:cubicBezTo>
                      <a:cubicBezTo>
                        <a:pt x="56" y="307"/>
                        <a:pt x="103" y="349"/>
                        <a:pt x="121" y="364"/>
                      </a:cubicBezTo>
                      <a:cubicBezTo>
                        <a:pt x="121" y="364"/>
                        <a:pt x="302" y="256"/>
                        <a:pt x="323" y="227"/>
                      </a:cubicBezTo>
                      <a:cubicBezTo>
                        <a:pt x="357" y="182"/>
                        <a:pt x="346" y="58"/>
                        <a:pt x="343" y="0"/>
                      </a:cubicBezTo>
                      <a:cubicBezTo>
                        <a:pt x="241" y="17"/>
                        <a:pt x="183" y="36"/>
                        <a:pt x="66" y="53"/>
                      </a:cubicBezTo>
                    </a:path>
                  </a:pathLst>
                </a:custGeom>
                <a:solidFill>
                  <a:srgbClr val="FD9B0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97" name="Freeform 113"/>
                <p:cNvSpPr>
                  <a:spLocks/>
                </p:cNvSpPr>
                <p:nvPr/>
              </p:nvSpPr>
              <p:spPr bwMode="gray">
                <a:xfrm>
                  <a:off x="6929251" y="1985389"/>
                  <a:ext cx="91190" cy="175522"/>
                </a:xfrm>
                <a:custGeom>
                  <a:avLst/>
                  <a:gdLst/>
                  <a:ahLst/>
                  <a:cxnLst>
                    <a:cxn ang="0">
                      <a:pos x="62" y="0"/>
                    </a:cxn>
                    <a:cxn ang="0">
                      <a:pos x="95" y="84"/>
                    </a:cxn>
                    <a:cxn ang="0">
                      <a:pos x="167" y="164"/>
                    </a:cxn>
                    <a:cxn ang="0">
                      <a:pos x="42" y="325"/>
                    </a:cxn>
                    <a:cxn ang="0">
                      <a:pos x="62" y="0"/>
                    </a:cxn>
                  </a:cxnLst>
                  <a:rect l="0" t="0" r="r" b="b"/>
                  <a:pathLst>
                    <a:path w="169" h="325">
                      <a:moveTo>
                        <a:pt x="62" y="0"/>
                      </a:moveTo>
                      <a:cubicBezTo>
                        <a:pt x="66" y="35"/>
                        <a:pt x="73" y="58"/>
                        <a:pt x="95" y="84"/>
                      </a:cubicBezTo>
                      <a:cubicBezTo>
                        <a:pt x="105" y="97"/>
                        <a:pt x="169" y="155"/>
                        <a:pt x="167" y="164"/>
                      </a:cubicBezTo>
                      <a:cubicBezTo>
                        <a:pt x="161" y="183"/>
                        <a:pt x="63" y="289"/>
                        <a:pt x="42" y="325"/>
                      </a:cubicBezTo>
                      <a:cubicBezTo>
                        <a:pt x="0" y="295"/>
                        <a:pt x="10" y="21"/>
                        <a:pt x="62" y="0"/>
                      </a:cubicBezTo>
                    </a:path>
                  </a:pathLst>
                </a:custGeom>
                <a:solidFill>
                  <a:srgbClr val="F0F0F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98" name="Freeform 114"/>
                <p:cNvSpPr>
                  <a:spLocks/>
                </p:cNvSpPr>
                <p:nvPr/>
              </p:nvSpPr>
              <p:spPr bwMode="gray">
                <a:xfrm>
                  <a:off x="7035067" y="1962077"/>
                  <a:ext cx="147869" cy="171866"/>
                </a:xfrm>
                <a:custGeom>
                  <a:avLst/>
                  <a:gdLst/>
                  <a:ahLst/>
                  <a:cxnLst>
                    <a:cxn ang="0">
                      <a:pos x="0" y="206"/>
                    </a:cxn>
                    <a:cxn ang="0">
                      <a:pos x="152" y="318"/>
                    </a:cxn>
                    <a:cxn ang="0">
                      <a:pos x="246" y="132"/>
                    </a:cxn>
                    <a:cxn ang="0">
                      <a:pos x="206" y="0"/>
                    </a:cxn>
                    <a:cxn ang="0">
                      <a:pos x="0" y="206"/>
                    </a:cxn>
                  </a:cxnLst>
                  <a:rect l="0" t="0" r="r" b="b"/>
                  <a:pathLst>
                    <a:path w="274" h="318">
                      <a:moveTo>
                        <a:pt x="0" y="206"/>
                      </a:moveTo>
                      <a:cubicBezTo>
                        <a:pt x="43" y="235"/>
                        <a:pt x="108" y="288"/>
                        <a:pt x="152" y="318"/>
                      </a:cubicBezTo>
                      <a:cubicBezTo>
                        <a:pt x="181" y="255"/>
                        <a:pt x="222" y="196"/>
                        <a:pt x="246" y="132"/>
                      </a:cubicBezTo>
                      <a:cubicBezTo>
                        <a:pt x="273" y="61"/>
                        <a:pt x="274" y="51"/>
                        <a:pt x="206" y="0"/>
                      </a:cubicBezTo>
                      <a:cubicBezTo>
                        <a:pt x="166" y="79"/>
                        <a:pt x="89" y="176"/>
                        <a:pt x="0" y="206"/>
                      </a:cubicBezTo>
                    </a:path>
                  </a:pathLst>
                </a:custGeom>
                <a:solidFill>
                  <a:srgbClr val="F0F0F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99" name="Freeform 115"/>
                <p:cNvSpPr>
                  <a:spLocks/>
                </p:cNvSpPr>
                <p:nvPr/>
              </p:nvSpPr>
              <p:spPr bwMode="gray">
                <a:xfrm>
                  <a:off x="6794866" y="2237474"/>
                  <a:ext cx="46395" cy="266255"/>
                </a:xfrm>
                <a:custGeom>
                  <a:avLst/>
                  <a:gdLst/>
                  <a:ahLst/>
                  <a:cxnLst>
                    <a:cxn ang="0">
                      <a:pos x="84" y="355"/>
                    </a:cxn>
                    <a:cxn ang="0">
                      <a:pos x="62" y="283"/>
                    </a:cxn>
                    <a:cxn ang="0">
                      <a:pos x="56" y="186"/>
                    </a:cxn>
                    <a:cxn ang="0">
                      <a:pos x="39" y="0"/>
                    </a:cxn>
                    <a:cxn ang="0">
                      <a:pos x="28" y="298"/>
                    </a:cxn>
                    <a:cxn ang="0">
                      <a:pos x="22" y="446"/>
                    </a:cxn>
                    <a:cxn ang="0">
                      <a:pos x="79" y="349"/>
                    </a:cxn>
                  </a:cxnLst>
                  <a:rect l="0" t="0" r="r" b="b"/>
                  <a:pathLst>
                    <a:path w="86" h="493">
                      <a:moveTo>
                        <a:pt x="84" y="355"/>
                      </a:moveTo>
                      <a:cubicBezTo>
                        <a:pt x="86" y="322"/>
                        <a:pt x="68" y="310"/>
                        <a:pt x="62" y="283"/>
                      </a:cubicBezTo>
                      <a:cubicBezTo>
                        <a:pt x="57" y="259"/>
                        <a:pt x="58" y="217"/>
                        <a:pt x="56" y="186"/>
                      </a:cubicBezTo>
                      <a:cubicBezTo>
                        <a:pt x="54" y="132"/>
                        <a:pt x="72" y="37"/>
                        <a:pt x="39" y="0"/>
                      </a:cubicBezTo>
                      <a:cubicBezTo>
                        <a:pt x="6" y="91"/>
                        <a:pt x="23" y="203"/>
                        <a:pt x="28" y="298"/>
                      </a:cubicBezTo>
                      <a:cubicBezTo>
                        <a:pt x="30" y="331"/>
                        <a:pt x="0" y="422"/>
                        <a:pt x="22" y="446"/>
                      </a:cubicBezTo>
                      <a:cubicBezTo>
                        <a:pt x="64" y="493"/>
                        <a:pt x="83" y="381"/>
                        <a:pt x="79" y="349"/>
                      </a:cubicBezTo>
                    </a:path>
                  </a:pathLst>
                </a:custGeom>
                <a:solidFill>
                  <a:srgbClr val="C0C0C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0" name="Freeform 116"/>
                <p:cNvSpPr>
                  <a:spLocks/>
                </p:cNvSpPr>
                <p:nvPr/>
              </p:nvSpPr>
              <p:spPr bwMode="gray">
                <a:xfrm>
                  <a:off x="7190021" y="2168454"/>
                  <a:ext cx="106959" cy="254142"/>
                </a:xfrm>
                <a:custGeom>
                  <a:avLst/>
                  <a:gdLst/>
                  <a:ahLst/>
                  <a:cxnLst>
                    <a:cxn ang="0">
                      <a:pos x="51" y="415"/>
                    </a:cxn>
                    <a:cxn ang="0">
                      <a:pos x="101" y="195"/>
                    </a:cxn>
                    <a:cxn ang="0">
                      <a:pos x="198" y="0"/>
                    </a:cxn>
                    <a:cxn ang="0">
                      <a:pos x="84" y="201"/>
                    </a:cxn>
                    <a:cxn ang="0">
                      <a:pos x="12" y="420"/>
                    </a:cxn>
                    <a:cxn ang="0">
                      <a:pos x="73" y="426"/>
                    </a:cxn>
                  </a:cxnLst>
                  <a:rect l="0" t="0" r="r" b="b"/>
                  <a:pathLst>
                    <a:path w="198" h="471">
                      <a:moveTo>
                        <a:pt x="51" y="415"/>
                      </a:moveTo>
                      <a:cubicBezTo>
                        <a:pt x="95" y="346"/>
                        <a:pt x="66" y="265"/>
                        <a:pt x="101" y="195"/>
                      </a:cubicBezTo>
                      <a:cubicBezTo>
                        <a:pt x="135" y="128"/>
                        <a:pt x="176" y="73"/>
                        <a:pt x="198" y="0"/>
                      </a:cubicBezTo>
                      <a:cubicBezTo>
                        <a:pt x="139" y="59"/>
                        <a:pt x="110" y="125"/>
                        <a:pt x="84" y="201"/>
                      </a:cubicBezTo>
                      <a:cubicBezTo>
                        <a:pt x="64" y="262"/>
                        <a:pt x="0" y="357"/>
                        <a:pt x="12" y="420"/>
                      </a:cubicBezTo>
                      <a:cubicBezTo>
                        <a:pt x="34" y="430"/>
                        <a:pt x="65" y="471"/>
                        <a:pt x="73" y="426"/>
                      </a:cubicBezTo>
                    </a:path>
                  </a:pathLst>
                </a:custGeom>
                <a:solidFill>
                  <a:srgbClr val="C0C0C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1" name="Freeform 117"/>
                <p:cNvSpPr>
                  <a:spLocks/>
                </p:cNvSpPr>
                <p:nvPr/>
              </p:nvSpPr>
              <p:spPr bwMode="gray">
                <a:xfrm>
                  <a:off x="6773840" y="2416196"/>
                  <a:ext cx="132785" cy="123643"/>
                </a:xfrm>
                <a:custGeom>
                  <a:avLst/>
                  <a:gdLst/>
                  <a:ahLst/>
                  <a:cxnLst>
                    <a:cxn ang="0">
                      <a:pos x="191" y="226"/>
                    </a:cxn>
                    <a:cxn ang="0">
                      <a:pos x="246" y="45"/>
                    </a:cxn>
                    <a:cxn ang="0">
                      <a:pos x="94" y="51"/>
                    </a:cxn>
                    <a:cxn ang="0">
                      <a:pos x="55" y="135"/>
                    </a:cxn>
                    <a:cxn ang="0">
                      <a:pos x="60" y="211"/>
                    </a:cxn>
                    <a:cxn ang="0">
                      <a:pos x="197" y="221"/>
                    </a:cxn>
                  </a:cxnLst>
                  <a:rect l="0" t="0" r="r" b="b"/>
                  <a:pathLst>
                    <a:path w="246" h="229">
                      <a:moveTo>
                        <a:pt x="191" y="226"/>
                      </a:moveTo>
                      <a:cubicBezTo>
                        <a:pt x="186" y="181"/>
                        <a:pt x="206" y="61"/>
                        <a:pt x="246" y="45"/>
                      </a:cubicBezTo>
                      <a:cubicBezTo>
                        <a:pt x="243" y="3"/>
                        <a:pt x="105" y="0"/>
                        <a:pt x="94" y="51"/>
                      </a:cubicBezTo>
                      <a:cubicBezTo>
                        <a:pt x="29" y="52"/>
                        <a:pt x="54" y="92"/>
                        <a:pt x="55" y="135"/>
                      </a:cubicBezTo>
                      <a:cubicBezTo>
                        <a:pt x="0" y="149"/>
                        <a:pt x="26" y="194"/>
                        <a:pt x="60" y="211"/>
                      </a:cubicBezTo>
                      <a:cubicBezTo>
                        <a:pt x="97" y="229"/>
                        <a:pt x="153" y="221"/>
                        <a:pt x="197" y="221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2" name="Freeform 118"/>
                <p:cNvSpPr>
                  <a:spLocks/>
                </p:cNvSpPr>
                <p:nvPr/>
              </p:nvSpPr>
              <p:spPr bwMode="gray">
                <a:xfrm>
                  <a:off x="7126257" y="2391970"/>
                  <a:ext cx="93475" cy="64678"/>
                </a:xfrm>
                <a:custGeom>
                  <a:avLst/>
                  <a:gdLst/>
                  <a:ahLst/>
                  <a:cxnLst>
                    <a:cxn ang="0">
                      <a:pos x="17" y="119"/>
                    </a:cxn>
                    <a:cxn ang="0">
                      <a:pos x="173" y="102"/>
                    </a:cxn>
                    <a:cxn ang="0">
                      <a:pos x="162" y="7"/>
                    </a:cxn>
                    <a:cxn ang="0">
                      <a:pos x="74" y="36"/>
                    </a:cxn>
                    <a:cxn ang="0">
                      <a:pos x="0" y="114"/>
                    </a:cxn>
                  </a:cxnLst>
                  <a:rect l="0" t="0" r="r" b="b"/>
                  <a:pathLst>
                    <a:path w="173" h="120">
                      <a:moveTo>
                        <a:pt x="17" y="119"/>
                      </a:moveTo>
                      <a:cubicBezTo>
                        <a:pt x="67" y="120"/>
                        <a:pt x="119" y="104"/>
                        <a:pt x="173" y="102"/>
                      </a:cubicBezTo>
                      <a:cubicBezTo>
                        <a:pt x="170" y="72"/>
                        <a:pt x="171" y="37"/>
                        <a:pt x="162" y="7"/>
                      </a:cubicBezTo>
                      <a:cubicBezTo>
                        <a:pt x="108" y="3"/>
                        <a:pt x="110" y="0"/>
                        <a:pt x="74" y="36"/>
                      </a:cubicBezTo>
                      <a:cubicBezTo>
                        <a:pt x="53" y="57"/>
                        <a:pt x="19" y="88"/>
                        <a:pt x="0" y="114"/>
                      </a:cubicBezTo>
                    </a:path>
                  </a:pathLst>
                </a:custGeom>
                <a:solidFill>
                  <a:srgbClr val="F4DDC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3" name="Freeform 119"/>
                <p:cNvSpPr>
                  <a:spLocks/>
                </p:cNvSpPr>
                <p:nvPr/>
              </p:nvSpPr>
              <p:spPr bwMode="gray">
                <a:xfrm>
                  <a:off x="6779097" y="2492987"/>
                  <a:ext cx="106959" cy="51194"/>
                </a:xfrm>
                <a:custGeom>
                  <a:avLst/>
                  <a:gdLst/>
                  <a:ahLst/>
                  <a:cxnLst>
                    <a:cxn ang="0">
                      <a:pos x="27" y="0"/>
                    </a:cxn>
                    <a:cxn ang="0">
                      <a:pos x="95" y="65"/>
                    </a:cxn>
                    <a:cxn ang="0">
                      <a:pos x="162" y="65"/>
                    </a:cxn>
                    <a:cxn ang="0">
                      <a:pos x="183" y="26"/>
                    </a:cxn>
                    <a:cxn ang="0">
                      <a:pos x="177" y="86"/>
                    </a:cxn>
                    <a:cxn ang="0">
                      <a:pos x="32" y="59"/>
                    </a:cxn>
                    <a:cxn ang="0">
                      <a:pos x="27" y="0"/>
                    </a:cxn>
                  </a:cxnLst>
                  <a:rect l="0" t="0" r="r" b="b"/>
                  <a:pathLst>
                    <a:path w="198" h="95">
                      <a:moveTo>
                        <a:pt x="27" y="0"/>
                      </a:moveTo>
                      <a:cubicBezTo>
                        <a:pt x="14" y="38"/>
                        <a:pt x="64" y="59"/>
                        <a:pt x="95" y="65"/>
                      </a:cubicBezTo>
                      <a:cubicBezTo>
                        <a:pt x="111" y="67"/>
                        <a:pt x="147" y="70"/>
                        <a:pt x="162" y="65"/>
                      </a:cubicBezTo>
                      <a:cubicBezTo>
                        <a:pt x="179" y="58"/>
                        <a:pt x="180" y="41"/>
                        <a:pt x="183" y="26"/>
                      </a:cubicBezTo>
                      <a:cubicBezTo>
                        <a:pt x="185" y="52"/>
                        <a:pt x="198" y="77"/>
                        <a:pt x="177" y="86"/>
                      </a:cubicBezTo>
                      <a:cubicBezTo>
                        <a:pt x="157" y="95"/>
                        <a:pt x="55" y="79"/>
                        <a:pt x="32" y="59"/>
                      </a:cubicBezTo>
                      <a:cubicBezTo>
                        <a:pt x="18" y="45"/>
                        <a:pt x="0" y="16"/>
                        <a:pt x="27" y="0"/>
                      </a:cubicBezTo>
                    </a:path>
                  </a:pathLst>
                </a:custGeom>
                <a:solidFill>
                  <a:srgbClr val="E2CEC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4" name="Freeform 120"/>
                <p:cNvSpPr>
                  <a:spLocks/>
                </p:cNvSpPr>
                <p:nvPr/>
              </p:nvSpPr>
              <p:spPr bwMode="gray">
                <a:xfrm>
                  <a:off x="7138141" y="2400655"/>
                  <a:ext cx="83647" cy="64221"/>
                </a:xfrm>
                <a:custGeom>
                  <a:avLst/>
                  <a:gdLst/>
                  <a:ahLst/>
                  <a:cxnLst>
                    <a:cxn ang="0">
                      <a:pos x="134" y="0"/>
                    </a:cxn>
                    <a:cxn ang="0">
                      <a:pos x="97" y="79"/>
                    </a:cxn>
                    <a:cxn ang="0">
                      <a:pos x="0" y="106"/>
                    </a:cxn>
                    <a:cxn ang="0">
                      <a:pos x="66" y="107"/>
                    </a:cxn>
                    <a:cxn ang="0">
                      <a:pos x="125" y="95"/>
                    </a:cxn>
                    <a:cxn ang="0">
                      <a:pos x="151" y="56"/>
                    </a:cxn>
                    <a:cxn ang="0">
                      <a:pos x="139" y="0"/>
                    </a:cxn>
                  </a:cxnLst>
                  <a:rect l="0" t="0" r="r" b="b"/>
                  <a:pathLst>
                    <a:path w="155" h="119">
                      <a:moveTo>
                        <a:pt x="134" y="0"/>
                      </a:moveTo>
                      <a:cubicBezTo>
                        <a:pt x="134" y="41"/>
                        <a:pt x="139" y="64"/>
                        <a:pt x="97" y="79"/>
                      </a:cubicBezTo>
                      <a:cubicBezTo>
                        <a:pt x="68" y="88"/>
                        <a:pt x="23" y="82"/>
                        <a:pt x="0" y="106"/>
                      </a:cubicBezTo>
                      <a:cubicBezTo>
                        <a:pt x="16" y="119"/>
                        <a:pt x="48" y="113"/>
                        <a:pt x="66" y="107"/>
                      </a:cubicBezTo>
                      <a:cubicBezTo>
                        <a:pt x="88" y="101"/>
                        <a:pt x="102" y="99"/>
                        <a:pt x="125" y="95"/>
                      </a:cubicBezTo>
                      <a:cubicBezTo>
                        <a:pt x="155" y="91"/>
                        <a:pt x="154" y="85"/>
                        <a:pt x="151" y="56"/>
                      </a:cubicBezTo>
                      <a:cubicBezTo>
                        <a:pt x="149" y="37"/>
                        <a:pt x="149" y="13"/>
                        <a:pt x="139" y="0"/>
                      </a:cubicBezTo>
                    </a:path>
                  </a:pathLst>
                </a:custGeom>
                <a:solidFill>
                  <a:srgbClr val="E2CEC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5" name="Freeform 121"/>
                <p:cNvSpPr>
                  <a:spLocks/>
                </p:cNvSpPr>
                <p:nvPr/>
              </p:nvSpPr>
              <p:spPr bwMode="gray">
                <a:xfrm>
                  <a:off x="6910967" y="2635371"/>
                  <a:ext cx="150611" cy="46395"/>
                </a:xfrm>
                <a:custGeom>
                  <a:avLst/>
                  <a:gdLst/>
                  <a:ahLst/>
                  <a:cxnLst>
                    <a:cxn ang="0">
                      <a:pos x="3" y="53"/>
                    </a:cxn>
                    <a:cxn ang="0">
                      <a:pos x="0" y="84"/>
                    </a:cxn>
                    <a:cxn ang="0">
                      <a:pos x="160" y="64"/>
                    </a:cxn>
                    <a:cxn ang="0">
                      <a:pos x="239" y="50"/>
                    </a:cxn>
                    <a:cxn ang="0">
                      <a:pos x="278" y="3"/>
                    </a:cxn>
                    <a:cxn ang="0">
                      <a:pos x="141" y="22"/>
                    </a:cxn>
                    <a:cxn ang="0">
                      <a:pos x="0" y="48"/>
                    </a:cxn>
                  </a:cxnLst>
                  <a:rect l="0" t="0" r="r" b="b"/>
                  <a:pathLst>
                    <a:path w="279" h="86">
                      <a:moveTo>
                        <a:pt x="3" y="53"/>
                      </a:moveTo>
                      <a:cubicBezTo>
                        <a:pt x="4" y="64"/>
                        <a:pt x="2" y="75"/>
                        <a:pt x="0" y="84"/>
                      </a:cubicBezTo>
                      <a:cubicBezTo>
                        <a:pt x="53" y="86"/>
                        <a:pt x="113" y="82"/>
                        <a:pt x="160" y="64"/>
                      </a:cubicBezTo>
                      <a:cubicBezTo>
                        <a:pt x="187" y="53"/>
                        <a:pt x="208" y="55"/>
                        <a:pt x="239" y="50"/>
                      </a:cubicBezTo>
                      <a:cubicBezTo>
                        <a:pt x="274" y="45"/>
                        <a:pt x="279" y="39"/>
                        <a:pt x="278" y="3"/>
                      </a:cubicBezTo>
                      <a:cubicBezTo>
                        <a:pt x="229" y="0"/>
                        <a:pt x="186" y="13"/>
                        <a:pt x="141" y="22"/>
                      </a:cubicBezTo>
                      <a:cubicBezTo>
                        <a:pt x="95" y="32"/>
                        <a:pt x="46" y="37"/>
                        <a:pt x="0" y="48"/>
                      </a:cubicBezTo>
                    </a:path>
                  </a:pathLst>
                </a:custGeom>
                <a:solidFill>
                  <a:srgbClr val="99999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6" name="Freeform 137"/>
                <p:cNvSpPr>
                  <a:spLocks/>
                </p:cNvSpPr>
                <p:nvPr/>
              </p:nvSpPr>
              <p:spPr bwMode="gray">
                <a:xfrm>
                  <a:off x="6711219" y="2599718"/>
                  <a:ext cx="86390" cy="65364"/>
                </a:xfrm>
                <a:custGeom>
                  <a:avLst/>
                  <a:gdLst/>
                  <a:ahLst/>
                  <a:cxnLst>
                    <a:cxn ang="0">
                      <a:pos x="4" y="116"/>
                    </a:cxn>
                    <a:cxn ang="0">
                      <a:pos x="160" y="0"/>
                    </a:cxn>
                    <a:cxn ang="0">
                      <a:pos x="0" y="121"/>
                    </a:cxn>
                  </a:cxnLst>
                  <a:rect l="0" t="0" r="r" b="b"/>
                  <a:pathLst>
                    <a:path w="160" h="121">
                      <a:moveTo>
                        <a:pt x="4" y="116"/>
                      </a:moveTo>
                      <a:cubicBezTo>
                        <a:pt x="36" y="75"/>
                        <a:pt x="109" y="19"/>
                        <a:pt x="160" y="0"/>
                      </a:cubicBezTo>
                      <a:cubicBezTo>
                        <a:pt x="136" y="36"/>
                        <a:pt x="44" y="115"/>
                        <a:pt x="0" y="121"/>
                      </a:cubicBezTo>
                    </a:path>
                  </a:pathLst>
                </a:custGeom>
                <a:solidFill>
                  <a:srgbClr val="C0C0C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7" name="Freeform 138"/>
                <p:cNvSpPr>
                  <a:spLocks/>
                </p:cNvSpPr>
                <p:nvPr/>
              </p:nvSpPr>
              <p:spPr bwMode="gray">
                <a:xfrm>
                  <a:off x="6647455" y="2459848"/>
                  <a:ext cx="135984" cy="107416"/>
                </a:xfrm>
                <a:custGeom>
                  <a:avLst/>
                  <a:gdLst/>
                  <a:ahLst/>
                  <a:cxnLst>
                    <a:cxn ang="0">
                      <a:pos x="207" y="101"/>
                    </a:cxn>
                    <a:cxn ang="0">
                      <a:pos x="30" y="0"/>
                    </a:cxn>
                    <a:cxn ang="0">
                      <a:pos x="101" y="114"/>
                    </a:cxn>
                    <a:cxn ang="0">
                      <a:pos x="0" y="152"/>
                    </a:cxn>
                    <a:cxn ang="0">
                      <a:pos x="126" y="138"/>
                    </a:cxn>
                    <a:cxn ang="0">
                      <a:pos x="252" y="126"/>
                    </a:cxn>
                    <a:cxn ang="0">
                      <a:pos x="223" y="92"/>
                    </a:cxn>
                  </a:cxnLst>
                  <a:rect l="0" t="0" r="r" b="b"/>
                  <a:pathLst>
                    <a:path w="252" h="199">
                      <a:moveTo>
                        <a:pt x="207" y="101"/>
                      </a:moveTo>
                      <a:cubicBezTo>
                        <a:pt x="131" y="101"/>
                        <a:pt x="92" y="34"/>
                        <a:pt x="30" y="0"/>
                      </a:cubicBezTo>
                      <a:cubicBezTo>
                        <a:pt x="40" y="43"/>
                        <a:pt x="84" y="73"/>
                        <a:pt x="101" y="114"/>
                      </a:cubicBezTo>
                      <a:cubicBezTo>
                        <a:pt x="70" y="130"/>
                        <a:pt x="38" y="157"/>
                        <a:pt x="0" y="152"/>
                      </a:cubicBezTo>
                      <a:cubicBezTo>
                        <a:pt x="11" y="199"/>
                        <a:pt x="102" y="157"/>
                        <a:pt x="126" y="138"/>
                      </a:cubicBezTo>
                      <a:cubicBezTo>
                        <a:pt x="175" y="100"/>
                        <a:pt x="199" y="115"/>
                        <a:pt x="252" y="126"/>
                      </a:cubicBezTo>
                      <a:cubicBezTo>
                        <a:pt x="250" y="111"/>
                        <a:pt x="236" y="100"/>
                        <a:pt x="223" y="92"/>
                      </a:cubicBezTo>
                    </a:path>
                  </a:pathLst>
                </a:custGeom>
                <a:solidFill>
                  <a:srgbClr val="C0C0C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8" name="Freeform 144"/>
                <p:cNvSpPr>
                  <a:spLocks/>
                </p:cNvSpPr>
                <p:nvPr/>
              </p:nvSpPr>
              <p:spPr bwMode="gray">
                <a:xfrm>
                  <a:off x="7121914" y="1599834"/>
                  <a:ext cx="26054" cy="70392"/>
                </a:xfrm>
                <a:custGeom>
                  <a:avLst/>
                  <a:gdLst/>
                  <a:ahLst/>
                  <a:cxnLst>
                    <a:cxn ang="0">
                      <a:pos x="12" y="0"/>
                    </a:cxn>
                    <a:cxn ang="0">
                      <a:pos x="21" y="30"/>
                    </a:cxn>
                    <a:cxn ang="0">
                      <a:pos x="15" y="26"/>
                    </a:cxn>
                    <a:cxn ang="0">
                      <a:pos x="6" y="53"/>
                    </a:cxn>
                    <a:cxn ang="0">
                      <a:pos x="12" y="75"/>
                    </a:cxn>
                    <a:cxn ang="0">
                      <a:pos x="4" y="72"/>
                    </a:cxn>
                    <a:cxn ang="0">
                      <a:pos x="7" y="108"/>
                    </a:cxn>
                    <a:cxn ang="0">
                      <a:pos x="3" y="105"/>
                    </a:cxn>
                    <a:cxn ang="0">
                      <a:pos x="1" y="122"/>
                    </a:cxn>
                    <a:cxn ang="0">
                      <a:pos x="16" y="130"/>
                    </a:cxn>
                    <a:cxn ang="0">
                      <a:pos x="16" y="114"/>
                    </a:cxn>
                    <a:cxn ang="0">
                      <a:pos x="26" y="121"/>
                    </a:cxn>
                    <a:cxn ang="0">
                      <a:pos x="27" y="100"/>
                    </a:cxn>
                    <a:cxn ang="0">
                      <a:pos x="34" y="105"/>
                    </a:cxn>
                    <a:cxn ang="0">
                      <a:pos x="34" y="69"/>
                    </a:cxn>
                    <a:cxn ang="0">
                      <a:pos x="48" y="78"/>
                    </a:cxn>
                    <a:cxn ang="0">
                      <a:pos x="39" y="48"/>
                    </a:cxn>
                    <a:cxn ang="0">
                      <a:pos x="37" y="23"/>
                    </a:cxn>
                    <a:cxn ang="0">
                      <a:pos x="42" y="23"/>
                    </a:cxn>
                    <a:cxn ang="0">
                      <a:pos x="40" y="13"/>
                    </a:cxn>
                    <a:cxn ang="0">
                      <a:pos x="33" y="8"/>
                    </a:cxn>
                    <a:cxn ang="0">
                      <a:pos x="12" y="0"/>
                    </a:cxn>
                  </a:cxnLst>
                  <a:rect l="0" t="0" r="r" b="b"/>
                  <a:pathLst>
                    <a:path w="48" h="130">
                      <a:moveTo>
                        <a:pt x="12" y="0"/>
                      </a:moveTo>
                      <a:cubicBezTo>
                        <a:pt x="22" y="7"/>
                        <a:pt x="21" y="18"/>
                        <a:pt x="21" y="30"/>
                      </a:cubicBezTo>
                      <a:cubicBezTo>
                        <a:pt x="19" y="29"/>
                        <a:pt x="17" y="28"/>
                        <a:pt x="15" y="26"/>
                      </a:cubicBezTo>
                      <a:cubicBezTo>
                        <a:pt x="14" y="30"/>
                        <a:pt x="20" y="66"/>
                        <a:pt x="6" y="53"/>
                      </a:cubicBezTo>
                      <a:cubicBezTo>
                        <a:pt x="6" y="61"/>
                        <a:pt x="8" y="68"/>
                        <a:pt x="12" y="75"/>
                      </a:cubicBezTo>
                      <a:cubicBezTo>
                        <a:pt x="9" y="76"/>
                        <a:pt x="7" y="74"/>
                        <a:pt x="4" y="72"/>
                      </a:cubicBezTo>
                      <a:cubicBezTo>
                        <a:pt x="3" y="84"/>
                        <a:pt x="5" y="97"/>
                        <a:pt x="7" y="108"/>
                      </a:cubicBezTo>
                      <a:cubicBezTo>
                        <a:pt x="6" y="107"/>
                        <a:pt x="5" y="107"/>
                        <a:pt x="3" y="105"/>
                      </a:cubicBezTo>
                      <a:cubicBezTo>
                        <a:pt x="3" y="113"/>
                        <a:pt x="0" y="115"/>
                        <a:pt x="1" y="122"/>
                      </a:cubicBezTo>
                      <a:cubicBezTo>
                        <a:pt x="5" y="124"/>
                        <a:pt x="11" y="127"/>
                        <a:pt x="16" y="130"/>
                      </a:cubicBezTo>
                      <a:cubicBezTo>
                        <a:pt x="16" y="125"/>
                        <a:pt x="16" y="120"/>
                        <a:pt x="16" y="114"/>
                      </a:cubicBezTo>
                      <a:cubicBezTo>
                        <a:pt x="19" y="116"/>
                        <a:pt x="22" y="119"/>
                        <a:pt x="26" y="121"/>
                      </a:cubicBezTo>
                      <a:cubicBezTo>
                        <a:pt x="26" y="114"/>
                        <a:pt x="27" y="107"/>
                        <a:pt x="27" y="100"/>
                      </a:cubicBezTo>
                      <a:cubicBezTo>
                        <a:pt x="30" y="101"/>
                        <a:pt x="32" y="103"/>
                        <a:pt x="34" y="105"/>
                      </a:cubicBezTo>
                      <a:cubicBezTo>
                        <a:pt x="39" y="97"/>
                        <a:pt x="35" y="78"/>
                        <a:pt x="34" y="69"/>
                      </a:cubicBezTo>
                      <a:cubicBezTo>
                        <a:pt x="35" y="73"/>
                        <a:pt x="44" y="76"/>
                        <a:pt x="48" y="78"/>
                      </a:cubicBezTo>
                      <a:cubicBezTo>
                        <a:pt x="48" y="68"/>
                        <a:pt x="40" y="59"/>
                        <a:pt x="39" y="48"/>
                      </a:cubicBezTo>
                      <a:cubicBezTo>
                        <a:pt x="46" y="47"/>
                        <a:pt x="38" y="28"/>
                        <a:pt x="37" y="23"/>
                      </a:cubicBezTo>
                      <a:cubicBezTo>
                        <a:pt x="38" y="23"/>
                        <a:pt x="40" y="23"/>
                        <a:pt x="42" y="23"/>
                      </a:cubicBezTo>
                      <a:cubicBezTo>
                        <a:pt x="42" y="23"/>
                        <a:pt x="40" y="14"/>
                        <a:pt x="40" y="13"/>
                      </a:cubicBezTo>
                      <a:cubicBezTo>
                        <a:pt x="38" y="11"/>
                        <a:pt x="36" y="9"/>
                        <a:pt x="33" y="8"/>
                      </a:cubicBezTo>
                      <a:cubicBezTo>
                        <a:pt x="28" y="5"/>
                        <a:pt x="17" y="1"/>
                        <a:pt x="12" y="0"/>
                      </a:cubicBezTo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9" name="Freeform 145"/>
                <p:cNvSpPr>
                  <a:spLocks/>
                </p:cNvSpPr>
                <p:nvPr/>
              </p:nvSpPr>
              <p:spPr bwMode="gray">
                <a:xfrm>
                  <a:off x="7168309" y="1640972"/>
                  <a:ext cx="26511" cy="208890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9" y="38"/>
                    </a:cxn>
                    <a:cxn ang="0">
                      <a:pos x="22" y="74"/>
                    </a:cxn>
                    <a:cxn ang="0">
                      <a:pos x="32" y="176"/>
                    </a:cxn>
                    <a:cxn ang="0">
                      <a:pos x="26" y="162"/>
                    </a:cxn>
                    <a:cxn ang="0">
                      <a:pos x="25" y="188"/>
                    </a:cxn>
                    <a:cxn ang="0">
                      <a:pos x="25" y="222"/>
                    </a:cxn>
                    <a:cxn ang="0">
                      <a:pos x="15" y="250"/>
                    </a:cxn>
                    <a:cxn ang="0">
                      <a:pos x="19" y="273"/>
                    </a:cxn>
                    <a:cxn ang="0">
                      <a:pos x="14" y="252"/>
                    </a:cxn>
                    <a:cxn ang="0">
                      <a:pos x="11" y="328"/>
                    </a:cxn>
                    <a:cxn ang="0">
                      <a:pos x="8" y="362"/>
                    </a:cxn>
                    <a:cxn ang="0">
                      <a:pos x="2" y="387"/>
                    </a:cxn>
                    <a:cxn ang="0">
                      <a:pos x="21" y="363"/>
                    </a:cxn>
                    <a:cxn ang="0">
                      <a:pos x="31" y="328"/>
                    </a:cxn>
                    <a:cxn ang="0">
                      <a:pos x="34" y="285"/>
                    </a:cxn>
                    <a:cxn ang="0">
                      <a:pos x="38" y="241"/>
                    </a:cxn>
                    <a:cxn ang="0">
                      <a:pos x="45" y="196"/>
                    </a:cxn>
                    <a:cxn ang="0">
                      <a:pos x="46" y="157"/>
                    </a:cxn>
                    <a:cxn ang="0">
                      <a:pos x="43" y="117"/>
                    </a:cxn>
                    <a:cxn ang="0">
                      <a:pos x="36" y="8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9" h="387">
                      <a:moveTo>
                        <a:pt x="1" y="0"/>
                      </a:moveTo>
                      <a:cubicBezTo>
                        <a:pt x="0" y="12"/>
                        <a:pt x="8" y="27"/>
                        <a:pt x="9" y="38"/>
                      </a:cubicBezTo>
                      <a:cubicBezTo>
                        <a:pt x="11" y="50"/>
                        <a:pt x="18" y="62"/>
                        <a:pt x="22" y="74"/>
                      </a:cubicBezTo>
                      <a:cubicBezTo>
                        <a:pt x="33" y="104"/>
                        <a:pt x="38" y="143"/>
                        <a:pt x="32" y="176"/>
                      </a:cubicBezTo>
                      <a:cubicBezTo>
                        <a:pt x="31" y="171"/>
                        <a:pt x="26" y="168"/>
                        <a:pt x="26" y="162"/>
                      </a:cubicBezTo>
                      <a:cubicBezTo>
                        <a:pt x="27" y="171"/>
                        <a:pt x="25" y="180"/>
                        <a:pt x="25" y="188"/>
                      </a:cubicBezTo>
                      <a:cubicBezTo>
                        <a:pt x="25" y="199"/>
                        <a:pt x="27" y="212"/>
                        <a:pt x="25" y="222"/>
                      </a:cubicBezTo>
                      <a:cubicBezTo>
                        <a:pt x="23" y="231"/>
                        <a:pt x="16" y="241"/>
                        <a:pt x="15" y="250"/>
                      </a:cubicBezTo>
                      <a:cubicBezTo>
                        <a:pt x="14" y="258"/>
                        <a:pt x="17" y="266"/>
                        <a:pt x="19" y="273"/>
                      </a:cubicBezTo>
                      <a:cubicBezTo>
                        <a:pt x="19" y="267"/>
                        <a:pt x="16" y="258"/>
                        <a:pt x="14" y="252"/>
                      </a:cubicBezTo>
                      <a:cubicBezTo>
                        <a:pt x="2" y="276"/>
                        <a:pt x="11" y="303"/>
                        <a:pt x="11" y="328"/>
                      </a:cubicBezTo>
                      <a:cubicBezTo>
                        <a:pt x="11" y="340"/>
                        <a:pt x="10" y="351"/>
                        <a:pt x="8" y="362"/>
                      </a:cubicBezTo>
                      <a:cubicBezTo>
                        <a:pt x="7" y="370"/>
                        <a:pt x="6" y="380"/>
                        <a:pt x="2" y="387"/>
                      </a:cubicBezTo>
                      <a:cubicBezTo>
                        <a:pt x="7" y="378"/>
                        <a:pt x="17" y="373"/>
                        <a:pt x="21" y="363"/>
                      </a:cubicBezTo>
                      <a:cubicBezTo>
                        <a:pt x="26" y="351"/>
                        <a:pt x="29" y="340"/>
                        <a:pt x="31" y="328"/>
                      </a:cubicBezTo>
                      <a:cubicBezTo>
                        <a:pt x="33" y="314"/>
                        <a:pt x="32" y="299"/>
                        <a:pt x="34" y="285"/>
                      </a:cubicBezTo>
                      <a:cubicBezTo>
                        <a:pt x="35" y="270"/>
                        <a:pt x="38" y="256"/>
                        <a:pt x="38" y="241"/>
                      </a:cubicBezTo>
                      <a:cubicBezTo>
                        <a:pt x="39" y="226"/>
                        <a:pt x="41" y="210"/>
                        <a:pt x="45" y="196"/>
                      </a:cubicBezTo>
                      <a:cubicBezTo>
                        <a:pt x="49" y="182"/>
                        <a:pt x="46" y="172"/>
                        <a:pt x="46" y="157"/>
                      </a:cubicBezTo>
                      <a:cubicBezTo>
                        <a:pt x="46" y="143"/>
                        <a:pt x="46" y="131"/>
                        <a:pt x="43" y="117"/>
                      </a:cubicBezTo>
                      <a:cubicBezTo>
                        <a:pt x="42" y="106"/>
                        <a:pt x="40" y="92"/>
                        <a:pt x="36" y="81"/>
                      </a:cubicBezTo>
                      <a:cubicBezTo>
                        <a:pt x="30" y="67"/>
                        <a:pt x="9" y="10"/>
                        <a:pt x="1" y="0"/>
                      </a:cubicBezTo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0" name="Freeform 146"/>
                <p:cNvSpPr>
                  <a:spLocks/>
                </p:cNvSpPr>
                <p:nvPr/>
              </p:nvSpPr>
              <p:spPr bwMode="gray">
                <a:xfrm>
                  <a:off x="6870972" y="1682110"/>
                  <a:ext cx="31768" cy="80219"/>
                </a:xfrm>
                <a:custGeom>
                  <a:avLst/>
                  <a:gdLst/>
                  <a:ahLst/>
                  <a:cxnLst>
                    <a:cxn ang="0">
                      <a:pos x="59" y="142"/>
                    </a:cxn>
                    <a:cxn ang="0">
                      <a:pos x="50" y="113"/>
                    </a:cxn>
                    <a:cxn ang="0">
                      <a:pos x="54" y="79"/>
                    </a:cxn>
                    <a:cxn ang="0">
                      <a:pos x="39" y="97"/>
                    </a:cxn>
                    <a:cxn ang="0">
                      <a:pos x="38" y="63"/>
                    </a:cxn>
                    <a:cxn ang="0">
                      <a:pos x="18" y="73"/>
                    </a:cxn>
                    <a:cxn ang="0">
                      <a:pos x="21" y="0"/>
                    </a:cxn>
                    <a:cxn ang="0">
                      <a:pos x="2" y="34"/>
                    </a:cxn>
                    <a:cxn ang="0">
                      <a:pos x="1" y="72"/>
                    </a:cxn>
                    <a:cxn ang="0">
                      <a:pos x="14" y="106"/>
                    </a:cxn>
                    <a:cxn ang="0">
                      <a:pos x="22" y="122"/>
                    </a:cxn>
                    <a:cxn ang="0">
                      <a:pos x="29" y="140"/>
                    </a:cxn>
                    <a:cxn ang="0">
                      <a:pos x="38" y="147"/>
                    </a:cxn>
                    <a:cxn ang="0">
                      <a:pos x="38" y="149"/>
                    </a:cxn>
                    <a:cxn ang="0">
                      <a:pos x="49" y="144"/>
                    </a:cxn>
                    <a:cxn ang="0">
                      <a:pos x="59" y="142"/>
                    </a:cxn>
                  </a:cxnLst>
                  <a:rect l="0" t="0" r="r" b="b"/>
                  <a:pathLst>
                    <a:path w="59" h="149">
                      <a:moveTo>
                        <a:pt x="59" y="142"/>
                      </a:moveTo>
                      <a:cubicBezTo>
                        <a:pt x="57" y="132"/>
                        <a:pt x="50" y="124"/>
                        <a:pt x="50" y="113"/>
                      </a:cubicBezTo>
                      <a:cubicBezTo>
                        <a:pt x="49" y="101"/>
                        <a:pt x="52" y="90"/>
                        <a:pt x="54" y="79"/>
                      </a:cubicBezTo>
                      <a:cubicBezTo>
                        <a:pt x="46" y="78"/>
                        <a:pt x="38" y="90"/>
                        <a:pt x="39" y="97"/>
                      </a:cubicBezTo>
                      <a:cubicBezTo>
                        <a:pt x="34" y="86"/>
                        <a:pt x="31" y="73"/>
                        <a:pt x="38" y="63"/>
                      </a:cubicBezTo>
                      <a:cubicBezTo>
                        <a:pt x="29" y="59"/>
                        <a:pt x="23" y="68"/>
                        <a:pt x="18" y="73"/>
                      </a:cubicBezTo>
                      <a:cubicBezTo>
                        <a:pt x="11" y="49"/>
                        <a:pt x="16" y="24"/>
                        <a:pt x="21" y="0"/>
                      </a:cubicBezTo>
                      <a:cubicBezTo>
                        <a:pt x="9" y="4"/>
                        <a:pt x="3" y="23"/>
                        <a:pt x="2" y="34"/>
                      </a:cubicBezTo>
                      <a:cubicBezTo>
                        <a:pt x="1" y="46"/>
                        <a:pt x="0" y="61"/>
                        <a:pt x="1" y="72"/>
                      </a:cubicBezTo>
                      <a:cubicBezTo>
                        <a:pt x="3" y="85"/>
                        <a:pt x="7" y="95"/>
                        <a:pt x="14" y="106"/>
                      </a:cubicBezTo>
                      <a:cubicBezTo>
                        <a:pt x="17" y="111"/>
                        <a:pt x="20" y="117"/>
                        <a:pt x="22" y="122"/>
                      </a:cubicBezTo>
                      <a:cubicBezTo>
                        <a:pt x="25" y="127"/>
                        <a:pt x="26" y="135"/>
                        <a:pt x="29" y="140"/>
                      </a:cubicBezTo>
                      <a:cubicBezTo>
                        <a:pt x="31" y="144"/>
                        <a:pt x="34" y="146"/>
                        <a:pt x="38" y="147"/>
                      </a:cubicBezTo>
                      <a:cubicBezTo>
                        <a:pt x="38" y="148"/>
                        <a:pt x="38" y="148"/>
                        <a:pt x="38" y="149"/>
                      </a:cubicBezTo>
                      <a:cubicBezTo>
                        <a:pt x="43" y="149"/>
                        <a:pt x="45" y="146"/>
                        <a:pt x="49" y="144"/>
                      </a:cubicBezTo>
                      <a:cubicBezTo>
                        <a:pt x="52" y="143"/>
                        <a:pt x="57" y="142"/>
                        <a:pt x="59" y="142"/>
                      </a:cubicBezTo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1" name="Freeform 147"/>
                <p:cNvSpPr>
                  <a:spLocks/>
                </p:cNvSpPr>
                <p:nvPr/>
              </p:nvSpPr>
              <p:spPr bwMode="gray">
                <a:xfrm>
                  <a:off x="6887656" y="1605776"/>
                  <a:ext cx="40453" cy="25369"/>
                </a:xfrm>
                <a:custGeom>
                  <a:avLst/>
                  <a:gdLst/>
                  <a:ahLst/>
                  <a:cxnLst>
                    <a:cxn ang="0">
                      <a:pos x="0" y="38"/>
                    </a:cxn>
                    <a:cxn ang="0">
                      <a:pos x="75" y="1"/>
                    </a:cxn>
                    <a:cxn ang="0">
                      <a:pos x="58" y="18"/>
                    </a:cxn>
                    <a:cxn ang="0">
                      <a:pos x="40" y="34"/>
                    </a:cxn>
                    <a:cxn ang="0">
                      <a:pos x="0" y="38"/>
                    </a:cxn>
                  </a:cxnLst>
                  <a:rect l="0" t="0" r="r" b="b"/>
                  <a:pathLst>
                    <a:path w="75" h="47">
                      <a:moveTo>
                        <a:pt x="0" y="38"/>
                      </a:moveTo>
                      <a:cubicBezTo>
                        <a:pt x="20" y="17"/>
                        <a:pt x="45" y="0"/>
                        <a:pt x="75" y="1"/>
                      </a:cubicBezTo>
                      <a:cubicBezTo>
                        <a:pt x="75" y="7"/>
                        <a:pt x="62" y="15"/>
                        <a:pt x="58" y="18"/>
                      </a:cubicBezTo>
                      <a:cubicBezTo>
                        <a:pt x="52" y="23"/>
                        <a:pt x="46" y="28"/>
                        <a:pt x="40" y="34"/>
                      </a:cubicBezTo>
                      <a:cubicBezTo>
                        <a:pt x="27" y="47"/>
                        <a:pt x="16" y="38"/>
                        <a:pt x="0" y="38"/>
                      </a:cubicBezTo>
                    </a:path>
                  </a:pathLst>
                </a:custGeom>
                <a:solidFill>
                  <a:srgbClr val="EFC36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2" name="Freeform 148"/>
                <p:cNvSpPr>
                  <a:spLocks/>
                </p:cNvSpPr>
                <p:nvPr/>
              </p:nvSpPr>
              <p:spPr bwMode="gray">
                <a:xfrm>
                  <a:off x="6924451" y="1574465"/>
                  <a:ext cx="42509" cy="16912"/>
                </a:xfrm>
                <a:custGeom>
                  <a:avLst/>
                  <a:gdLst/>
                  <a:ahLst/>
                  <a:cxnLst>
                    <a:cxn ang="0">
                      <a:pos x="0" y="10"/>
                    </a:cxn>
                    <a:cxn ang="0">
                      <a:pos x="39" y="16"/>
                    </a:cxn>
                    <a:cxn ang="0">
                      <a:pos x="79" y="0"/>
                    </a:cxn>
                    <a:cxn ang="0">
                      <a:pos x="55" y="14"/>
                    </a:cxn>
                    <a:cxn ang="0">
                      <a:pos x="41" y="20"/>
                    </a:cxn>
                    <a:cxn ang="0">
                      <a:pos x="13" y="29"/>
                    </a:cxn>
                    <a:cxn ang="0">
                      <a:pos x="0" y="11"/>
                    </a:cxn>
                  </a:cxnLst>
                  <a:rect l="0" t="0" r="r" b="b"/>
                  <a:pathLst>
                    <a:path w="79" h="31">
                      <a:moveTo>
                        <a:pt x="0" y="10"/>
                      </a:moveTo>
                      <a:cubicBezTo>
                        <a:pt x="5" y="19"/>
                        <a:pt x="31" y="17"/>
                        <a:pt x="39" y="16"/>
                      </a:cubicBezTo>
                      <a:cubicBezTo>
                        <a:pt x="53" y="13"/>
                        <a:pt x="66" y="4"/>
                        <a:pt x="79" y="0"/>
                      </a:cubicBezTo>
                      <a:cubicBezTo>
                        <a:pt x="77" y="5"/>
                        <a:pt x="61" y="11"/>
                        <a:pt x="55" y="14"/>
                      </a:cubicBezTo>
                      <a:cubicBezTo>
                        <a:pt x="51" y="17"/>
                        <a:pt x="46" y="18"/>
                        <a:pt x="41" y="20"/>
                      </a:cubicBezTo>
                      <a:cubicBezTo>
                        <a:pt x="33" y="24"/>
                        <a:pt x="23" y="31"/>
                        <a:pt x="13" y="29"/>
                      </a:cubicBezTo>
                      <a:cubicBezTo>
                        <a:pt x="10" y="22"/>
                        <a:pt x="7" y="14"/>
                        <a:pt x="0" y="11"/>
                      </a:cubicBezTo>
                    </a:path>
                  </a:pathLst>
                </a:custGeom>
                <a:solidFill>
                  <a:srgbClr val="EFC36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3" name="Freeform 149"/>
                <p:cNvSpPr>
                  <a:spLocks/>
                </p:cNvSpPr>
                <p:nvPr/>
              </p:nvSpPr>
              <p:spPr bwMode="gray">
                <a:xfrm>
                  <a:off x="6886513" y="1603262"/>
                  <a:ext cx="93932" cy="101474"/>
                </a:xfrm>
                <a:custGeom>
                  <a:avLst/>
                  <a:gdLst/>
                  <a:ahLst/>
                  <a:cxnLst>
                    <a:cxn ang="0">
                      <a:pos x="42" y="93"/>
                    </a:cxn>
                    <a:cxn ang="0">
                      <a:pos x="94" y="38"/>
                    </a:cxn>
                    <a:cxn ang="0">
                      <a:pos x="174" y="20"/>
                    </a:cxn>
                    <a:cxn ang="0">
                      <a:pos x="117" y="11"/>
                    </a:cxn>
                    <a:cxn ang="0">
                      <a:pos x="152" y="7"/>
                    </a:cxn>
                    <a:cxn ang="0">
                      <a:pos x="0" y="160"/>
                    </a:cxn>
                    <a:cxn ang="0">
                      <a:pos x="11" y="142"/>
                    </a:cxn>
                    <a:cxn ang="0">
                      <a:pos x="14" y="188"/>
                    </a:cxn>
                    <a:cxn ang="0">
                      <a:pos x="76" y="74"/>
                    </a:cxn>
                  </a:cxnLst>
                  <a:rect l="0" t="0" r="r" b="b"/>
                  <a:pathLst>
                    <a:path w="174" h="188">
                      <a:moveTo>
                        <a:pt x="42" y="93"/>
                      </a:moveTo>
                      <a:cubicBezTo>
                        <a:pt x="64" y="80"/>
                        <a:pt x="71" y="52"/>
                        <a:pt x="94" y="38"/>
                      </a:cubicBezTo>
                      <a:cubicBezTo>
                        <a:pt x="120" y="21"/>
                        <a:pt x="148" y="30"/>
                        <a:pt x="174" y="20"/>
                      </a:cubicBezTo>
                      <a:cubicBezTo>
                        <a:pt x="164" y="5"/>
                        <a:pt x="134" y="6"/>
                        <a:pt x="117" y="11"/>
                      </a:cubicBezTo>
                      <a:cubicBezTo>
                        <a:pt x="128" y="11"/>
                        <a:pt x="140" y="9"/>
                        <a:pt x="152" y="7"/>
                      </a:cubicBezTo>
                      <a:cubicBezTo>
                        <a:pt x="65" y="0"/>
                        <a:pt x="0" y="79"/>
                        <a:pt x="0" y="160"/>
                      </a:cubicBezTo>
                      <a:cubicBezTo>
                        <a:pt x="2" y="148"/>
                        <a:pt x="3" y="151"/>
                        <a:pt x="11" y="142"/>
                      </a:cubicBezTo>
                      <a:cubicBezTo>
                        <a:pt x="12" y="158"/>
                        <a:pt x="4" y="174"/>
                        <a:pt x="14" y="188"/>
                      </a:cubicBezTo>
                      <a:cubicBezTo>
                        <a:pt x="24" y="154"/>
                        <a:pt x="39" y="86"/>
                        <a:pt x="76" y="74"/>
                      </a:cubicBezTo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67711">
                    <a:defRPr/>
                  </a:pPr>
                  <a:endParaRPr lang="en-US" sz="1100" kern="0">
                    <a:solidFill>
                      <a:srgbClr val="000000"/>
                    </a:solidFill>
                  </a:endParaRPr>
                </a:p>
              </p:txBody>
            </p:sp>
          </p:grpSp>
        </p:grpSp>
        <p:sp>
          <p:nvSpPr>
            <p:cNvPr id="70" name="Textfeld 725"/>
            <p:cNvSpPr txBox="1"/>
            <p:nvPr/>
          </p:nvSpPr>
          <p:spPr bwMode="gray">
            <a:xfrm>
              <a:off x="1315428" y="1074297"/>
              <a:ext cx="1794521" cy="3572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 defTabSz="1167711">
                <a:defRPr/>
              </a:pPr>
              <a:r>
                <a:rPr lang="ru-RU" sz="1100" kern="0" dirty="0">
                  <a:solidFill>
                    <a:srgbClr val="646464"/>
                  </a:solidFill>
                  <a:latin typeface="Trebuchet MS" panose="020B0603020202020204" pitchFamily="34" charset="0"/>
                </a:rPr>
                <a:t>Прикладные производственные навыки </a:t>
              </a:r>
              <a:endParaRPr lang="en-US" sz="1100" kern="0" dirty="0">
                <a:solidFill>
                  <a:srgbClr val="646464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71" name="Textfeld 724"/>
            <p:cNvSpPr txBox="1"/>
            <p:nvPr/>
          </p:nvSpPr>
          <p:spPr bwMode="gray">
            <a:xfrm>
              <a:off x="4780320" y="1079993"/>
              <a:ext cx="1645636" cy="230299"/>
            </a:xfrm>
            <a:prstGeom prst="rect">
              <a:avLst/>
            </a:prstGeom>
            <a:noFill/>
            <a:effectLst/>
          </p:spPr>
          <p:txBody>
            <a:bodyPr wrap="square" lIns="0" tIns="0" rIns="0" bIns="0" rtlCol="0">
              <a:spAutoFit/>
            </a:bodyPr>
            <a:lstStyle/>
            <a:p>
              <a:pPr defTabSz="1167711">
                <a:defRPr/>
              </a:pPr>
              <a:r>
                <a:rPr lang="ru-RU" sz="1100" kern="0" dirty="0">
                  <a:solidFill>
                    <a:srgbClr val="646464"/>
                  </a:solidFill>
                  <a:latin typeface="Trebuchet MS" panose="020B0603020202020204" pitchFamily="34" charset="0"/>
                </a:rPr>
                <a:t>Взаимодействие с людьми и переговоры</a:t>
              </a:r>
              <a:endParaRPr lang="en-US" sz="1100" kern="0" dirty="0">
                <a:solidFill>
                  <a:srgbClr val="646464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313" name="Rechteck 720"/>
            <p:cNvSpPr/>
            <p:nvPr/>
          </p:nvSpPr>
          <p:spPr bwMode="gray">
            <a:xfrm>
              <a:off x="4751522" y="1585481"/>
              <a:ext cx="2298574" cy="17795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1167711">
                <a:defRPr/>
              </a:pPr>
              <a:r>
                <a:rPr lang="ru-RU" sz="1100" kern="0" dirty="0">
                  <a:solidFill>
                    <a:srgbClr val="646464"/>
                  </a:solidFill>
                  <a:latin typeface="Trebuchet MS" panose="020B0603020202020204" pitchFamily="34" charset="0"/>
                </a:rPr>
                <a:t>Непрерывное обучение</a:t>
              </a:r>
              <a:endParaRPr lang="en-US" sz="1100" kern="0" dirty="0">
                <a:solidFill>
                  <a:srgbClr val="646464"/>
                </a:solidFill>
                <a:latin typeface="Trebuchet MS" panose="020B0603020202020204" pitchFamily="34" charset="0"/>
              </a:endParaRPr>
            </a:p>
          </p:txBody>
        </p:sp>
      </p:grpSp>
      <p:sp>
        <p:nvSpPr>
          <p:cNvPr id="251" name="TextBox 250"/>
          <p:cNvSpPr txBox="1"/>
          <p:nvPr/>
        </p:nvSpPr>
        <p:spPr>
          <a:xfrm>
            <a:off x="9249392" y="1721775"/>
            <a:ext cx="2933038" cy="795019"/>
          </a:xfrm>
          <a:prstGeom prst="rect">
            <a:avLst/>
          </a:prstGeom>
          <a:noFill/>
        </p:spPr>
        <p:txBody>
          <a:bodyPr wrap="square" lIns="116770" tIns="58385" rIns="116770" bIns="58385" rtlCol="0">
            <a:spAutoFit/>
          </a:bodyPr>
          <a:lstStyle/>
          <a:p>
            <a:pPr defTabSz="995124"/>
            <a:r>
              <a:rPr lang="ru-RU" sz="1100" b="1" dirty="0">
                <a:solidFill>
                  <a:srgbClr val="0E80A5"/>
                </a:solidFill>
                <a:latin typeface="Trebuchet MS" panose="020B0603020202020204" pitchFamily="34" charset="0"/>
              </a:rPr>
              <a:t>Развитие сетевого взаимодействия и партнерской сети, повышение качественного уровня образовательной среды </a:t>
            </a:r>
          </a:p>
        </p:txBody>
      </p:sp>
      <p:sp>
        <p:nvSpPr>
          <p:cNvPr id="252" name="TextBox 251"/>
          <p:cNvSpPr txBox="1"/>
          <p:nvPr/>
        </p:nvSpPr>
        <p:spPr>
          <a:xfrm>
            <a:off x="9111533" y="1087905"/>
            <a:ext cx="2903244" cy="718075"/>
          </a:xfrm>
          <a:prstGeom prst="rect">
            <a:avLst/>
          </a:prstGeom>
          <a:noFill/>
        </p:spPr>
        <p:txBody>
          <a:bodyPr wrap="square" lIns="116770" tIns="58385" rIns="116770" bIns="58385" rtlCol="0">
            <a:spAutoFit/>
          </a:bodyPr>
          <a:lstStyle/>
          <a:p>
            <a:pPr defTabSz="995124"/>
            <a:r>
              <a:rPr lang="ru-RU" sz="1300" b="1" dirty="0">
                <a:solidFill>
                  <a:srgbClr val="FD9B02"/>
                </a:solidFill>
                <a:latin typeface="Trebuchet MS" panose="020B0603020202020204" pitchFamily="34" charset="0"/>
              </a:rPr>
              <a:t>ПОТРЕБНОСТЬ ОБРАЗОВАТЕЛЬНЫХ УЧРЕЖДЕНИЙ </a:t>
            </a:r>
          </a:p>
        </p:txBody>
      </p:sp>
      <p:sp>
        <p:nvSpPr>
          <p:cNvPr id="253" name="TextBox 252"/>
          <p:cNvSpPr txBox="1"/>
          <p:nvPr/>
        </p:nvSpPr>
        <p:spPr>
          <a:xfrm>
            <a:off x="267439" y="1204180"/>
            <a:ext cx="2459125" cy="317965"/>
          </a:xfrm>
          <a:prstGeom prst="rect">
            <a:avLst/>
          </a:prstGeom>
          <a:noFill/>
        </p:spPr>
        <p:txBody>
          <a:bodyPr wrap="square" lIns="116770" tIns="58385" rIns="116770" bIns="58385" rtlCol="0">
            <a:spAutoFit/>
          </a:bodyPr>
          <a:lstStyle/>
          <a:p>
            <a:pPr defTabSz="995124"/>
            <a:r>
              <a:rPr lang="ru-RU" sz="1300" b="1" dirty="0">
                <a:solidFill>
                  <a:srgbClr val="FD9B02"/>
                </a:solidFill>
                <a:latin typeface="Trebuchet MS" panose="020B0603020202020204" pitchFamily="34" charset="0"/>
              </a:rPr>
              <a:t>ПОТРЕБНОСТЬ КОМПАНИИ</a:t>
            </a:r>
          </a:p>
        </p:txBody>
      </p:sp>
      <p:sp>
        <p:nvSpPr>
          <p:cNvPr id="304" name="TextBox 303"/>
          <p:cNvSpPr txBox="1"/>
          <p:nvPr/>
        </p:nvSpPr>
        <p:spPr>
          <a:xfrm>
            <a:off x="3853131" y="1186313"/>
            <a:ext cx="4150991" cy="518020"/>
          </a:xfrm>
          <a:prstGeom prst="rect">
            <a:avLst/>
          </a:prstGeom>
          <a:noFill/>
        </p:spPr>
        <p:txBody>
          <a:bodyPr wrap="square" lIns="116770" tIns="58385" rIns="116770" bIns="58385" rtlCol="0">
            <a:spAutoFit/>
          </a:bodyPr>
          <a:lstStyle/>
          <a:p>
            <a:pPr algn="ctr" defTabSz="995124"/>
            <a:r>
              <a:rPr lang="ru-RU" sz="1300" b="1" dirty="0">
                <a:solidFill>
                  <a:srgbClr val="FD9B02"/>
                </a:solidFill>
                <a:latin typeface="Trebuchet MS" panose="020B0603020202020204" pitchFamily="34" charset="0"/>
              </a:rPr>
              <a:t>ПРОФИЛЬ ВЫПУСКНИКА ПРОЕКТА</a:t>
            </a:r>
          </a:p>
          <a:p>
            <a:pPr algn="ctr" defTabSz="995124"/>
            <a:r>
              <a:rPr lang="ru-RU" sz="1300" b="1" dirty="0">
                <a:solidFill>
                  <a:srgbClr val="FD9B02"/>
                </a:solidFill>
                <a:latin typeface="Trebuchet MS" panose="020B0603020202020204" pitchFamily="34" charset="0"/>
              </a:rPr>
              <a:t>ЦЕЛЕВОЙ РЕЗУЛЬТАТ ПОДГОТОВКИ  </a:t>
            </a:r>
          </a:p>
        </p:txBody>
      </p:sp>
      <p:sp>
        <p:nvSpPr>
          <p:cNvPr id="306" name="TextBox 305"/>
          <p:cNvSpPr txBox="1"/>
          <p:nvPr/>
        </p:nvSpPr>
        <p:spPr>
          <a:xfrm>
            <a:off x="372449" y="1450557"/>
            <a:ext cx="2046610" cy="1472127"/>
          </a:xfrm>
          <a:prstGeom prst="rect">
            <a:avLst/>
          </a:prstGeom>
          <a:noFill/>
        </p:spPr>
        <p:txBody>
          <a:bodyPr wrap="square" lIns="116770" tIns="58385" rIns="116770" bIns="58385" rtlCol="0">
            <a:spAutoFit/>
          </a:bodyPr>
          <a:lstStyle/>
          <a:p>
            <a:pPr defTabSz="995124"/>
            <a:r>
              <a:rPr lang="ru-RU" sz="1100" b="1" dirty="0">
                <a:solidFill>
                  <a:srgbClr val="0E80A5"/>
                </a:solidFill>
                <a:latin typeface="Trebuchet MS" panose="020B0603020202020204" pitchFamily="34" charset="0"/>
              </a:rPr>
              <a:t>Подготовка высококвалифицированного персонала под профиль компетенций компании</a:t>
            </a:r>
          </a:p>
          <a:p>
            <a:pPr defTabSz="995124"/>
            <a:endParaRPr lang="ru-RU" sz="1100" b="1" dirty="0">
              <a:solidFill>
                <a:srgbClr val="0E80A5"/>
              </a:solidFill>
              <a:latin typeface="Trebuchet MS" panose="020B0603020202020204" pitchFamily="34" charset="0"/>
            </a:endParaRPr>
          </a:p>
          <a:p>
            <a:pPr marL="171450" indent="-171450" defTabSz="995124">
              <a:buFontTx/>
              <a:buChar char="-"/>
            </a:pPr>
            <a:endParaRPr lang="ru-RU" sz="1100" dirty="0">
              <a:solidFill>
                <a:srgbClr val="404040"/>
              </a:solidFill>
              <a:latin typeface="Trebuchet MS" panose="020B0603020202020204" pitchFamily="34" charset="0"/>
            </a:endParaRPr>
          </a:p>
          <a:p>
            <a:pPr defTabSz="995124"/>
            <a:endParaRPr lang="ru-RU" sz="1100" dirty="0">
              <a:solidFill>
                <a:srgbClr val="404040"/>
              </a:solidFill>
              <a:latin typeface="Trebuchet MS" panose="020B0603020202020204" pitchFamily="34" charset="0"/>
            </a:endParaRPr>
          </a:p>
        </p:txBody>
      </p:sp>
      <p:sp>
        <p:nvSpPr>
          <p:cNvPr id="307" name="Freeform 67"/>
          <p:cNvSpPr>
            <a:spLocks noChangeAspect="1"/>
          </p:cNvSpPr>
          <p:nvPr/>
        </p:nvSpPr>
        <p:spPr bwMode="auto">
          <a:xfrm>
            <a:off x="153367" y="1515324"/>
            <a:ext cx="228144" cy="260736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rgbClr val="0E80A5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308" name="Freeform 67"/>
          <p:cNvSpPr>
            <a:spLocks noChangeAspect="1"/>
          </p:cNvSpPr>
          <p:nvPr/>
        </p:nvSpPr>
        <p:spPr bwMode="auto">
          <a:xfrm>
            <a:off x="9029486" y="1799301"/>
            <a:ext cx="228144" cy="260736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rgbClr val="0E80A5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309" name="TextBox 308"/>
          <p:cNvSpPr txBox="1"/>
          <p:nvPr/>
        </p:nvSpPr>
        <p:spPr>
          <a:xfrm>
            <a:off x="9258366" y="2430958"/>
            <a:ext cx="2933038" cy="625742"/>
          </a:xfrm>
          <a:prstGeom prst="rect">
            <a:avLst/>
          </a:prstGeom>
          <a:noFill/>
        </p:spPr>
        <p:txBody>
          <a:bodyPr wrap="square" lIns="116770" tIns="58385" rIns="116770" bIns="58385" rtlCol="0">
            <a:spAutoFit/>
          </a:bodyPr>
          <a:lstStyle/>
          <a:p>
            <a:pPr defTabSz="995124"/>
            <a:r>
              <a:rPr lang="ru-RU" sz="1100" b="1" dirty="0">
                <a:solidFill>
                  <a:srgbClr val="0E80A5"/>
                </a:solidFill>
                <a:latin typeface="Trebuchet MS" panose="020B0603020202020204" pitchFamily="34" charset="0"/>
              </a:rPr>
              <a:t>Повышение интереса к образованию, улучшение имиджа образовательных учреждений</a:t>
            </a:r>
            <a:endParaRPr lang="ru-RU" sz="1100" dirty="0">
              <a:solidFill>
                <a:srgbClr val="404040"/>
              </a:solidFill>
              <a:latin typeface="Trebuchet MS" panose="020B0603020202020204" pitchFamily="34" charset="0"/>
            </a:endParaRPr>
          </a:p>
        </p:txBody>
      </p:sp>
      <p:sp>
        <p:nvSpPr>
          <p:cNvPr id="310" name="Freeform 67"/>
          <p:cNvSpPr>
            <a:spLocks noChangeAspect="1"/>
          </p:cNvSpPr>
          <p:nvPr/>
        </p:nvSpPr>
        <p:spPr bwMode="auto">
          <a:xfrm>
            <a:off x="9029486" y="2481879"/>
            <a:ext cx="228144" cy="260736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rgbClr val="0E80A5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311" name="TextBox 310"/>
          <p:cNvSpPr txBox="1"/>
          <p:nvPr/>
        </p:nvSpPr>
        <p:spPr>
          <a:xfrm>
            <a:off x="9322983" y="3054116"/>
            <a:ext cx="2933038" cy="625742"/>
          </a:xfrm>
          <a:prstGeom prst="rect">
            <a:avLst/>
          </a:prstGeom>
          <a:noFill/>
        </p:spPr>
        <p:txBody>
          <a:bodyPr wrap="square" lIns="116770" tIns="58385" rIns="116770" bIns="58385" rtlCol="0">
            <a:spAutoFit/>
          </a:bodyPr>
          <a:lstStyle/>
          <a:p>
            <a:pPr defTabSz="995124"/>
            <a:r>
              <a:rPr lang="ru-RU" sz="1100" b="1" dirty="0">
                <a:solidFill>
                  <a:srgbClr val="0E80A5"/>
                </a:solidFill>
                <a:latin typeface="Trebuchet MS" panose="020B0603020202020204" pitchFamily="34" charset="0"/>
              </a:rPr>
              <a:t>Повышение уровня и квалификации преподавательского состава, обмен лучшими практиками</a:t>
            </a:r>
            <a:endParaRPr lang="ru-RU" sz="1100" dirty="0">
              <a:solidFill>
                <a:srgbClr val="404040"/>
              </a:solidFill>
              <a:latin typeface="Trebuchet MS" panose="020B0603020202020204" pitchFamily="34" charset="0"/>
            </a:endParaRPr>
          </a:p>
        </p:txBody>
      </p:sp>
      <p:sp>
        <p:nvSpPr>
          <p:cNvPr id="312" name="Freeform 67"/>
          <p:cNvSpPr>
            <a:spLocks noChangeAspect="1"/>
          </p:cNvSpPr>
          <p:nvPr/>
        </p:nvSpPr>
        <p:spPr bwMode="auto">
          <a:xfrm>
            <a:off x="9003631" y="3122704"/>
            <a:ext cx="228144" cy="260736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rgbClr val="0E80A5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grpSp>
        <p:nvGrpSpPr>
          <p:cNvPr id="8" name="Группа 7"/>
          <p:cNvGrpSpPr/>
          <p:nvPr/>
        </p:nvGrpSpPr>
        <p:grpSpPr>
          <a:xfrm>
            <a:off x="113412" y="4666450"/>
            <a:ext cx="11946737" cy="2692274"/>
            <a:chOff x="113412" y="4371175"/>
            <a:chExt cx="11946737" cy="2692274"/>
          </a:xfrm>
        </p:grpSpPr>
        <p:sp>
          <p:nvSpPr>
            <p:cNvPr id="320" name="Text Box 56" descr="© INSCALE GmbH, 26.05.2010&#10;http://www.presentationload.com/"/>
            <p:cNvSpPr txBox="1">
              <a:spLocks noChangeArrowheads="1"/>
            </p:cNvSpPr>
            <p:nvPr/>
          </p:nvSpPr>
          <p:spPr bwMode="gray">
            <a:xfrm>
              <a:off x="10197044" y="4371175"/>
              <a:ext cx="1863105" cy="20902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114930" tIns="0" rIns="91945" bIns="58385">
              <a:spAutoFit/>
            </a:bodyPr>
            <a:lstStyle/>
            <a:p>
              <a:pPr defTabSz="1167711">
                <a:spcBef>
                  <a:spcPct val="50000"/>
                </a:spcBef>
              </a:pPr>
              <a:r>
                <a:rPr lang="ru-RU" sz="1100" b="1" noProof="1">
                  <a:solidFill>
                    <a:schemeClr val="bg1"/>
                  </a:solidFill>
                  <a:latin typeface="Trebuchet MS" panose="020B0603020202020204" pitchFamily="34" charset="0"/>
                  <a:cs typeface="Arial" panose="020B0604020202020204" pitchFamily="34" charset="0"/>
                </a:rPr>
                <a:t>Стажировки и практики на базе предприятия, вынесенные занятия и лабораторные работы</a:t>
              </a:r>
            </a:p>
            <a:p>
              <a:pPr defTabSz="1167711">
                <a:spcBef>
                  <a:spcPct val="50000"/>
                </a:spcBef>
              </a:pPr>
              <a:endParaRPr lang="en-US" sz="1100" b="1" noProof="1">
                <a:solidFill>
                  <a:schemeClr val="bg1"/>
                </a:solidFill>
                <a:latin typeface="Trebuchet MS" panose="020B0603020202020204" pitchFamily="34" charset="0"/>
                <a:cs typeface="Arial" panose="020B0604020202020204" pitchFamily="34" charset="0"/>
              </a:endParaRPr>
            </a:p>
            <a:p>
              <a:pPr defTabSz="1167711">
                <a:spcBef>
                  <a:spcPct val="50000"/>
                </a:spcBef>
              </a:pPr>
              <a:r>
                <a:rPr lang="ru-RU" sz="1100" noProof="1">
                  <a:solidFill>
                    <a:prstClr val="black">
                      <a:lumMod val="75000"/>
                      <a:lumOff val="25000"/>
                    </a:prstClr>
                  </a:solidFill>
                  <a:latin typeface="Trebuchet MS" panose="020B0603020202020204" pitchFamily="34" charset="0"/>
                  <a:cs typeface="Arial" panose="020B0604020202020204" pitchFamily="34" charset="0"/>
                </a:rPr>
                <a:t>Закрепление полученных в ходе обучения навыков под контролем заказчика и будущего работодателя выпускников </a:t>
              </a:r>
              <a:endParaRPr lang="en-US" sz="1100" noProof="1">
                <a:solidFill>
                  <a:prstClr val="black">
                    <a:lumMod val="75000"/>
                    <a:lumOff val="25000"/>
                  </a:prstClr>
                </a:solidFill>
                <a:latin typeface="Trebuchet MS" panose="020B0603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2" name="Группа 1"/>
            <p:cNvGrpSpPr/>
            <p:nvPr/>
          </p:nvGrpSpPr>
          <p:grpSpPr>
            <a:xfrm>
              <a:off x="113412" y="4380699"/>
              <a:ext cx="10214872" cy="2682750"/>
              <a:chOff x="113412" y="4380699"/>
              <a:chExt cx="10214872" cy="2682750"/>
            </a:xfrm>
          </p:grpSpPr>
          <p:grpSp>
            <p:nvGrpSpPr>
              <p:cNvPr id="4" name="Группа 3"/>
              <p:cNvGrpSpPr/>
              <p:nvPr/>
            </p:nvGrpSpPr>
            <p:grpSpPr>
              <a:xfrm>
                <a:off x="113412" y="4380699"/>
                <a:ext cx="8181337" cy="2682750"/>
                <a:chOff x="698030" y="4617766"/>
                <a:chExt cx="7526813" cy="3265884"/>
              </a:xfrm>
            </p:grpSpPr>
            <p:sp>
              <p:nvSpPr>
                <p:cNvPr id="43" name="Text Box 56" descr="© INSCALE GmbH, 26.05.2010&#10;http://www.presentationload.com/"/>
                <p:cNvSpPr txBox="1">
                  <a:spLocks noChangeArrowheads="1"/>
                </p:cNvSpPr>
                <p:nvPr/>
              </p:nvSpPr>
              <p:spPr bwMode="gray">
                <a:xfrm>
                  <a:off x="2695479" y="4617766"/>
                  <a:ext cx="1875229" cy="326588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square" lIns="114930" tIns="0" rIns="91945" bIns="58385">
                  <a:spAutoFit/>
                </a:bodyPr>
                <a:lstStyle/>
                <a:p>
                  <a:pPr defTabSz="1167711">
                    <a:spcBef>
                      <a:spcPct val="50000"/>
                    </a:spcBef>
                  </a:pPr>
                  <a:r>
                    <a:rPr lang="ru-RU" sz="1100" b="1" noProof="1">
                      <a:solidFill>
                        <a:schemeClr val="bg1"/>
                      </a:solidFill>
                      <a:latin typeface="Trebuchet MS" panose="020B0603020202020204" pitchFamily="34" charset="0"/>
                      <a:cs typeface="Arial" panose="020B0604020202020204" pitchFamily="34" charset="0"/>
                    </a:rPr>
                    <a:t>Комплексная программа подготовки будущих специалистов,  проект Классы СИБУРа:</a:t>
                  </a:r>
                </a:p>
                <a:p>
                  <a:pPr defTabSz="1167711">
                    <a:spcBef>
                      <a:spcPct val="50000"/>
                    </a:spcBef>
                  </a:pPr>
                  <a:endParaRPr lang="ru-RU" sz="1100" b="1" noProof="1">
                    <a:solidFill>
                      <a:schemeClr val="bg1"/>
                    </a:solidFill>
                    <a:latin typeface="Trebuchet MS" panose="020B0603020202020204" pitchFamily="34" charset="0"/>
                    <a:cs typeface="Arial" panose="020B0604020202020204" pitchFamily="34" charset="0"/>
                  </a:endParaRPr>
                </a:p>
                <a:p>
                  <a:pPr defTabSz="1167711">
                    <a:spcBef>
                      <a:spcPct val="50000"/>
                    </a:spcBef>
                  </a:pPr>
                  <a:r>
                    <a:rPr lang="ru-RU" sz="1100" noProof="1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Trebuchet MS" panose="020B0603020202020204" pitchFamily="34" charset="0"/>
                      <a:cs typeface="Arial" panose="020B0604020202020204" pitchFamily="34" charset="0"/>
                    </a:rPr>
                    <a:t>Обучение в рамках модуля «Рабочие профессии» по компетенциям: лаборант хим.анализа, электромонтер, КИПиА</a:t>
                  </a:r>
                </a:p>
                <a:p>
                  <a:pPr defTabSz="1167711">
                    <a:spcBef>
                      <a:spcPct val="50000"/>
                    </a:spcBef>
                  </a:pPr>
                  <a:endParaRPr lang="ru-RU" sz="1100" b="1" noProof="1">
                    <a:solidFill>
                      <a:srgbClr val="0E80A5"/>
                    </a:solidFill>
                    <a:latin typeface="Trebuchet MS" panose="020B0603020202020204" pitchFamily="34" charset="0"/>
                    <a:cs typeface="Arial" panose="020B0604020202020204" pitchFamily="34" charset="0"/>
                  </a:endParaRPr>
                </a:p>
                <a:p>
                  <a:pPr defTabSz="1167711">
                    <a:spcBef>
                      <a:spcPct val="50000"/>
                    </a:spcBef>
                  </a:pPr>
                  <a:endParaRPr lang="en-US" sz="1100" b="1" noProof="1">
                    <a:solidFill>
                      <a:srgbClr val="0E80A5"/>
                    </a:solidFill>
                    <a:latin typeface="Trebuchet MS" panose="020B0603020202020204" pitchFamily="34" charset="0"/>
                    <a:cs typeface="Arial" panose="020B0604020202020204" pitchFamily="34" charset="0"/>
                  </a:endParaRPr>
                </a:p>
                <a:p>
                  <a:pPr defTabSz="1167711">
                    <a:spcBef>
                      <a:spcPct val="50000"/>
                    </a:spcBef>
                  </a:pPr>
                  <a:endParaRPr lang="ru-RU" sz="1100" noProof="1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Trebuchet MS" panose="020B0603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4" name="Text Box 56" descr="© INSCALE GmbH, 26.05.2010&#10;http://www.presentationload.com/"/>
                <p:cNvSpPr txBox="1">
                  <a:spLocks noChangeArrowheads="1"/>
                </p:cNvSpPr>
                <p:nvPr/>
              </p:nvSpPr>
              <p:spPr bwMode="gray">
                <a:xfrm>
                  <a:off x="4546135" y="4617766"/>
                  <a:ext cx="1700487" cy="254463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square" lIns="114930" tIns="0" rIns="91945" bIns="58385">
                  <a:spAutoFit/>
                </a:bodyPr>
                <a:lstStyle/>
                <a:p>
                  <a:pPr defTabSz="1167711">
                    <a:spcBef>
                      <a:spcPct val="50000"/>
                    </a:spcBef>
                  </a:pPr>
                  <a:r>
                    <a:rPr lang="ru-RU" sz="1100" b="1" noProof="1">
                      <a:solidFill>
                        <a:schemeClr val="bg1"/>
                      </a:solidFill>
                      <a:latin typeface="Trebuchet MS" panose="020B0603020202020204" pitchFamily="34" charset="0"/>
                      <a:cs typeface="Arial" panose="020B0604020202020204" pitchFamily="34" charset="0"/>
                    </a:rPr>
                    <a:t>Стажировки преподавателей техникума на базе предприятия </a:t>
                  </a:r>
                </a:p>
                <a:p>
                  <a:pPr defTabSz="1167711">
                    <a:spcBef>
                      <a:spcPct val="50000"/>
                    </a:spcBef>
                  </a:pPr>
                  <a:endParaRPr lang="en-US" sz="1100" b="1" noProof="1">
                    <a:solidFill>
                      <a:schemeClr val="bg1"/>
                    </a:solidFill>
                    <a:latin typeface="Trebuchet MS" panose="020B0603020202020204" pitchFamily="34" charset="0"/>
                    <a:cs typeface="Arial" panose="020B0604020202020204" pitchFamily="34" charset="0"/>
                  </a:endParaRPr>
                </a:p>
                <a:p>
                  <a:pPr defTabSz="1167711">
                    <a:spcBef>
                      <a:spcPct val="50000"/>
                    </a:spcBef>
                  </a:pPr>
                  <a:r>
                    <a:rPr lang="ru-RU" sz="1100" noProof="1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Trebuchet MS" panose="020B0603020202020204" pitchFamily="34" charset="0"/>
                      <a:cs typeface="Arial" panose="020B0604020202020204" pitchFamily="34" charset="0"/>
                    </a:rPr>
                    <a:t>Практиконаправленное обучение для развития педагогов и их представлениях о современном производстве </a:t>
                  </a:r>
                  <a:endParaRPr lang="en-US" sz="1100" noProof="1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Trebuchet MS" panose="020B0603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65" name="Text Box 56" descr="© INSCALE GmbH, 26.05.2010&#10;http://www.presentationload.com/"/>
                <p:cNvSpPr txBox="1">
                  <a:spLocks noChangeArrowheads="1"/>
                </p:cNvSpPr>
                <p:nvPr/>
              </p:nvSpPr>
              <p:spPr bwMode="gray">
                <a:xfrm>
                  <a:off x="698030" y="4617767"/>
                  <a:ext cx="2065220" cy="2647669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square" lIns="114930" tIns="0" rIns="91945" bIns="58385">
                  <a:spAutoFit/>
                </a:bodyPr>
                <a:lstStyle/>
                <a:p>
                  <a:pPr defTabSz="1167711">
                    <a:spcBef>
                      <a:spcPct val="50000"/>
                    </a:spcBef>
                  </a:pPr>
                  <a:r>
                    <a:rPr lang="ru-RU" sz="1100" b="1" noProof="1">
                      <a:solidFill>
                        <a:schemeClr val="bg1"/>
                      </a:solidFill>
                      <a:latin typeface="Trebuchet MS" panose="020B0603020202020204" pitchFamily="34" charset="0"/>
                      <a:cs typeface="Arial" panose="020B0604020202020204" pitchFamily="34" charset="0"/>
                    </a:rPr>
                    <a:t>Профориентация и повышение престижа рабочих профессий,</a:t>
                  </a:r>
                  <a:br>
                    <a:rPr lang="ru-RU" sz="1100" b="1" noProof="1">
                      <a:solidFill>
                        <a:schemeClr val="bg1"/>
                      </a:solidFill>
                      <a:latin typeface="Trebuchet MS" panose="020B0603020202020204" pitchFamily="34" charset="0"/>
                      <a:cs typeface="Arial" panose="020B0604020202020204" pitchFamily="34" charset="0"/>
                    </a:rPr>
                  </a:br>
                  <a:r>
                    <a:rPr lang="ru-RU" sz="1100" b="1" noProof="1">
                      <a:solidFill>
                        <a:schemeClr val="bg1"/>
                      </a:solidFill>
                      <a:latin typeface="Trebuchet MS" panose="020B0603020202020204" pitchFamily="34" charset="0"/>
                      <a:cs typeface="Arial" panose="020B0604020202020204" pitchFamily="34" charset="0"/>
                    </a:rPr>
                    <a:t>проект ПрофиСИБУРа: </a:t>
                  </a:r>
                </a:p>
                <a:p>
                  <a:pPr defTabSz="1167711">
                    <a:spcBef>
                      <a:spcPct val="50000"/>
                    </a:spcBef>
                  </a:pPr>
                  <a:endParaRPr lang="en-US" sz="1100" b="1" noProof="1">
                    <a:solidFill>
                      <a:schemeClr val="bg1"/>
                    </a:solidFill>
                    <a:latin typeface="Trebuchet MS" panose="020B0603020202020204" pitchFamily="34" charset="0"/>
                    <a:cs typeface="Arial" panose="020B0604020202020204" pitchFamily="34" charset="0"/>
                  </a:endParaRPr>
                </a:p>
                <a:p>
                  <a:pPr defTabSz="1167711">
                    <a:spcBef>
                      <a:spcPct val="50000"/>
                    </a:spcBef>
                  </a:pPr>
                  <a:r>
                    <a:rPr lang="ru-RU" sz="1100" noProof="1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Trebuchet MS" panose="020B0603020202020204" pitchFamily="34" charset="0"/>
                      <a:cs typeface="Arial" panose="020B0604020202020204" pitchFamily="34" charset="0"/>
                    </a:rPr>
                    <a:t>Реализация совместных профориентационных проектов на базе школ города, в т.ч. в линейке </a:t>
                  </a:r>
                  <a:r>
                    <a:rPr lang="en-US" sz="1100" noProof="1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Trebuchet MS" panose="020B0603020202020204" pitchFamily="34" charset="0"/>
                      <a:cs typeface="Arial" panose="020B0604020202020204" pitchFamily="34" charset="0"/>
                    </a:rPr>
                    <a:t>WorldSkills Junior </a:t>
                  </a:r>
                  <a:endParaRPr lang="ru-RU" sz="1100" noProof="1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Trebuchet MS" panose="020B0603020202020204" pitchFamily="34" charset="0"/>
                    <a:cs typeface="Arial" panose="020B0604020202020204" pitchFamily="34" charset="0"/>
                  </a:endParaRPr>
                </a:p>
                <a:p>
                  <a:pPr defTabSz="1167711">
                    <a:spcBef>
                      <a:spcPct val="50000"/>
                    </a:spcBef>
                  </a:pPr>
                  <a:endParaRPr lang="ru-RU" sz="1100" noProof="1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Trebuchet MS" panose="020B0603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19" name="Text Box 56" descr="© INSCALE GmbH, 26.05.2010&#10;http://www.presentationload.com/"/>
                <p:cNvSpPr txBox="1">
                  <a:spLocks noChangeArrowheads="1"/>
                </p:cNvSpPr>
                <p:nvPr/>
              </p:nvSpPr>
              <p:spPr bwMode="gray">
                <a:xfrm>
                  <a:off x="6146435" y="4617766"/>
                  <a:ext cx="2078408" cy="233856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square" lIns="114930" tIns="0" rIns="91945" bIns="58385">
                  <a:spAutoFit/>
                </a:bodyPr>
                <a:lstStyle/>
                <a:p>
                  <a:pPr defTabSz="1167711">
                    <a:spcBef>
                      <a:spcPct val="50000"/>
                    </a:spcBef>
                  </a:pPr>
                  <a:r>
                    <a:rPr lang="ru-RU" sz="1100" b="1" noProof="1">
                      <a:solidFill>
                        <a:schemeClr val="bg1"/>
                      </a:solidFill>
                      <a:latin typeface="Trebuchet MS" panose="020B0603020202020204" pitchFamily="34" charset="0"/>
                      <a:cs typeface="Arial" panose="020B0604020202020204" pitchFamily="34" charset="0"/>
                    </a:rPr>
                    <a:t>Разработка и внедрение совместных образовательных программ под модель компетенций компании </a:t>
                  </a:r>
                </a:p>
                <a:p>
                  <a:pPr defTabSz="1167711">
                    <a:spcBef>
                      <a:spcPct val="50000"/>
                    </a:spcBef>
                  </a:pPr>
                  <a:endParaRPr lang="en-US" sz="1100" b="1" noProof="1">
                    <a:solidFill>
                      <a:schemeClr val="bg1"/>
                    </a:solidFill>
                    <a:latin typeface="Trebuchet MS" panose="020B0603020202020204" pitchFamily="34" charset="0"/>
                    <a:cs typeface="Arial" panose="020B0604020202020204" pitchFamily="34" charset="0"/>
                  </a:endParaRPr>
                </a:p>
                <a:p>
                  <a:pPr defTabSz="1167711">
                    <a:spcBef>
                      <a:spcPct val="50000"/>
                    </a:spcBef>
                  </a:pPr>
                  <a:r>
                    <a:rPr lang="ru-RU" sz="1100" noProof="1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Trebuchet MS" panose="020B0603020202020204" pitchFamily="34" charset="0"/>
                      <a:cs typeface="Arial" panose="020B0604020202020204" pitchFamily="34" charset="0"/>
                    </a:rPr>
                    <a:t>Привлечение лучших росийских и международных экспертов к наполнению техничеких и дополнительных образовательных модулей </a:t>
                  </a:r>
                  <a:endParaRPr lang="en-US" sz="1100" noProof="1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Trebuchet MS" panose="020B0603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321" name="Text Box 56" descr="© INSCALE GmbH, 26.05.2010&#10;http://www.presentationload.com/"/>
              <p:cNvSpPr txBox="1">
                <a:spLocks noChangeArrowheads="1"/>
              </p:cNvSpPr>
              <p:nvPr/>
            </p:nvSpPr>
            <p:spPr bwMode="gray">
              <a:xfrm>
                <a:off x="8245918" y="4380700"/>
                <a:ext cx="2082366" cy="192100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lIns="114930" tIns="0" rIns="91945" bIns="58385">
                <a:spAutoFit/>
              </a:bodyPr>
              <a:lstStyle/>
              <a:p>
                <a:pPr defTabSz="1167711">
                  <a:spcBef>
                    <a:spcPct val="50000"/>
                  </a:spcBef>
                </a:pPr>
                <a:r>
                  <a:rPr lang="ru-RU" sz="1100" b="1" noProof="1">
                    <a:solidFill>
                      <a:schemeClr val="bg1"/>
                    </a:solidFill>
                    <a:latin typeface="Trebuchet MS" panose="020B0603020202020204" pitchFamily="34" charset="0"/>
                    <a:cs typeface="Arial" panose="020B0604020202020204" pitchFamily="34" charset="0"/>
                  </a:rPr>
                  <a:t>Обучение студентов в рамках целевой подготовки/совместных программ СИБУРа</a:t>
                </a:r>
              </a:p>
              <a:p>
                <a:pPr defTabSz="1167711">
                  <a:spcBef>
                    <a:spcPct val="50000"/>
                  </a:spcBef>
                </a:pPr>
                <a:endParaRPr lang="en-US" sz="1100" b="1" noProof="1">
                  <a:solidFill>
                    <a:schemeClr val="bg1"/>
                  </a:solidFill>
                  <a:latin typeface="Trebuchet MS" panose="020B0603020202020204" pitchFamily="34" charset="0"/>
                  <a:cs typeface="Arial" panose="020B0604020202020204" pitchFamily="34" charset="0"/>
                </a:endParaRPr>
              </a:p>
              <a:p>
                <a:pPr defTabSz="1167711">
                  <a:spcBef>
                    <a:spcPct val="50000"/>
                  </a:spcBef>
                </a:pPr>
                <a:r>
                  <a:rPr lang="ru-RU" sz="1100" noProof="1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Trebuchet MS" panose="020B0603020202020204" pitchFamily="34" charset="0"/>
                    <a:cs typeface="Arial" panose="020B0604020202020204" pitchFamily="34" charset="0"/>
                  </a:rPr>
                  <a:t>Обучение на высокотехнологичном оборудовании по стандартам разработанным под нужды компании </a:t>
                </a:r>
              </a:p>
            </p:txBody>
          </p:sp>
        </p:grpSp>
      </p:grpSp>
      <p:cxnSp>
        <p:nvCxnSpPr>
          <p:cNvPr id="19" name="Прямая соединительная линия 18"/>
          <p:cNvCxnSpPr/>
          <p:nvPr/>
        </p:nvCxnSpPr>
        <p:spPr>
          <a:xfrm>
            <a:off x="4295800" y="5661248"/>
            <a:ext cx="0" cy="888343"/>
          </a:xfrm>
          <a:prstGeom prst="line">
            <a:avLst/>
          </a:prstGeom>
          <a:ln w="12700">
            <a:solidFill>
              <a:srgbClr val="0E80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6" name="Прямая соединительная линия 315"/>
          <p:cNvCxnSpPr/>
          <p:nvPr/>
        </p:nvCxnSpPr>
        <p:spPr>
          <a:xfrm>
            <a:off x="2294107" y="5699615"/>
            <a:ext cx="0" cy="888343"/>
          </a:xfrm>
          <a:prstGeom prst="line">
            <a:avLst/>
          </a:prstGeom>
          <a:ln w="12700">
            <a:solidFill>
              <a:srgbClr val="0E80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7" name="Прямая соединительная линия 316"/>
          <p:cNvCxnSpPr/>
          <p:nvPr/>
        </p:nvCxnSpPr>
        <p:spPr>
          <a:xfrm>
            <a:off x="6047865" y="5721114"/>
            <a:ext cx="0" cy="888343"/>
          </a:xfrm>
          <a:prstGeom prst="line">
            <a:avLst/>
          </a:prstGeom>
          <a:ln w="12700">
            <a:solidFill>
              <a:srgbClr val="0E80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8" name="Прямая соединительная линия 317"/>
          <p:cNvCxnSpPr/>
          <p:nvPr/>
        </p:nvCxnSpPr>
        <p:spPr>
          <a:xfrm>
            <a:off x="8245918" y="5721114"/>
            <a:ext cx="0" cy="888343"/>
          </a:xfrm>
          <a:prstGeom prst="line">
            <a:avLst/>
          </a:prstGeom>
          <a:ln w="12700">
            <a:solidFill>
              <a:srgbClr val="0E80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2" name="Прямая соединительная линия 321"/>
          <p:cNvCxnSpPr/>
          <p:nvPr/>
        </p:nvCxnSpPr>
        <p:spPr>
          <a:xfrm>
            <a:off x="10197044" y="5721114"/>
            <a:ext cx="0" cy="888343"/>
          </a:xfrm>
          <a:prstGeom prst="line">
            <a:avLst/>
          </a:prstGeom>
          <a:ln w="12700">
            <a:solidFill>
              <a:srgbClr val="0E80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Половина рамки 27"/>
          <p:cNvSpPr/>
          <p:nvPr/>
        </p:nvSpPr>
        <p:spPr>
          <a:xfrm rot="13290962">
            <a:off x="5447981" y="3831524"/>
            <a:ext cx="516774" cy="466442"/>
          </a:xfrm>
          <a:prstGeom prst="halfFrame">
            <a:avLst/>
          </a:prstGeom>
          <a:solidFill>
            <a:srgbClr val="0E80A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323" name="Половина рамки 322"/>
          <p:cNvSpPr/>
          <p:nvPr/>
        </p:nvSpPr>
        <p:spPr>
          <a:xfrm rot="7924449">
            <a:off x="2185719" y="2515217"/>
            <a:ext cx="516454" cy="466725"/>
          </a:xfrm>
          <a:prstGeom prst="halfFrame">
            <a:avLst/>
          </a:prstGeom>
          <a:solidFill>
            <a:srgbClr val="0E80A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324" name="Половина рамки 323"/>
          <p:cNvSpPr/>
          <p:nvPr/>
        </p:nvSpPr>
        <p:spPr>
          <a:xfrm rot="18715598">
            <a:off x="8681022" y="2475288"/>
            <a:ext cx="516454" cy="466725"/>
          </a:xfrm>
          <a:prstGeom prst="halfFrame">
            <a:avLst/>
          </a:prstGeom>
          <a:solidFill>
            <a:srgbClr val="0E80A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pic>
        <p:nvPicPr>
          <p:cNvPr id="254" name="Рисунок 25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1654" y="95856"/>
            <a:ext cx="694660" cy="664192"/>
          </a:xfrm>
          <a:prstGeom prst="rect">
            <a:avLst/>
          </a:prstGeom>
        </p:spPr>
      </p:pic>
      <p:sp>
        <p:nvSpPr>
          <p:cNvPr id="255" name="Freeform 67"/>
          <p:cNvSpPr>
            <a:spLocks noChangeAspect="1"/>
          </p:cNvSpPr>
          <p:nvPr/>
        </p:nvSpPr>
        <p:spPr bwMode="auto">
          <a:xfrm>
            <a:off x="149026" y="2416460"/>
            <a:ext cx="228144" cy="260736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rgbClr val="0E80A5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256" name="Freeform 67"/>
          <p:cNvSpPr>
            <a:spLocks noChangeAspect="1"/>
          </p:cNvSpPr>
          <p:nvPr/>
        </p:nvSpPr>
        <p:spPr bwMode="auto">
          <a:xfrm>
            <a:off x="150119" y="2857083"/>
            <a:ext cx="228144" cy="260736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rgbClr val="0E80A5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257" name="Freeform 67"/>
          <p:cNvSpPr>
            <a:spLocks noChangeAspect="1"/>
          </p:cNvSpPr>
          <p:nvPr/>
        </p:nvSpPr>
        <p:spPr bwMode="auto">
          <a:xfrm>
            <a:off x="118344" y="3413996"/>
            <a:ext cx="228144" cy="260736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rgbClr val="0E80A5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258" name="TextBox 257"/>
          <p:cNvSpPr txBox="1"/>
          <p:nvPr/>
        </p:nvSpPr>
        <p:spPr>
          <a:xfrm>
            <a:off x="379356" y="2366797"/>
            <a:ext cx="2275866" cy="60265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116770" tIns="58385" rIns="116770" bIns="58385" rtlCol="0">
            <a:spAutoFit/>
          </a:bodyPr>
          <a:lstStyle/>
          <a:p>
            <a:pPr defTabSz="995124"/>
            <a:r>
              <a:rPr lang="ru-RU" sz="1050" b="1" dirty="0">
                <a:solidFill>
                  <a:srgbClr val="0E80A5"/>
                </a:solidFill>
                <a:latin typeface="Trebuchet MS" panose="020B0603020202020204" pitchFamily="34" charset="0"/>
              </a:rPr>
              <a:t>Умение работа и цифровыми инструментами и </a:t>
            </a:r>
            <a:r>
              <a:rPr lang="en-US" sz="1050" b="1" dirty="0">
                <a:solidFill>
                  <a:srgbClr val="0E80A5"/>
                </a:solidFill>
                <a:latin typeface="Trebuchet MS" panose="020B0603020202020204" pitchFamily="34" charset="0"/>
              </a:rPr>
              <a:t>IT </a:t>
            </a:r>
            <a:r>
              <a:rPr lang="ru-RU" sz="1050" b="1" dirty="0">
                <a:solidFill>
                  <a:srgbClr val="0E80A5"/>
                </a:solidFill>
                <a:latin typeface="Trebuchet MS" panose="020B0603020202020204" pitchFamily="34" charset="0"/>
              </a:rPr>
              <a:t>технологиями </a:t>
            </a:r>
            <a:r>
              <a:rPr lang="ru-RU" sz="1050" dirty="0">
                <a:solidFill>
                  <a:prstClr val="white"/>
                </a:solidFill>
                <a:latin typeface="Arial"/>
              </a:rPr>
              <a:t>в компании </a:t>
            </a:r>
            <a:endParaRPr lang="en-US" sz="105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59" name="TextBox 258"/>
          <p:cNvSpPr txBox="1"/>
          <p:nvPr/>
        </p:nvSpPr>
        <p:spPr>
          <a:xfrm>
            <a:off x="367096" y="3415723"/>
            <a:ext cx="2275866" cy="1133573"/>
          </a:xfrm>
          <a:prstGeom prst="rect">
            <a:avLst/>
          </a:prstGeom>
          <a:noFill/>
        </p:spPr>
        <p:txBody>
          <a:bodyPr wrap="square" lIns="116770" tIns="58385" rIns="116770" bIns="58385" rtlCol="0">
            <a:spAutoFit/>
          </a:bodyPr>
          <a:lstStyle/>
          <a:p>
            <a:pPr defTabSz="995124"/>
            <a:r>
              <a:rPr lang="ru-RU" sz="1100" b="1" dirty="0">
                <a:solidFill>
                  <a:srgbClr val="0E80A5"/>
                </a:solidFill>
                <a:latin typeface="Trebuchet MS" panose="020B0603020202020204" pitchFamily="34" charset="0"/>
              </a:rPr>
              <a:t>Владение бизнес-мышлением и умением работать в кросс-функциональных командах</a:t>
            </a:r>
          </a:p>
          <a:p>
            <a:pPr marL="171450" indent="-171450" defTabSz="995124">
              <a:buFontTx/>
              <a:buChar char="-"/>
            </a:pPr>
            <a:endParaRPr lang="ru-RU" sz="1100" dirty="0">
              <a:solidFill>
                <a:srgbClr val="404040"/>
              </a:solidFill>
              <a:latin typeface="Trebuchet MS" panose="020B0603020202020204" pitchFamily="34" charset="0"/>
            </a:endParaRPr>
          </a:p>
          <a:p>
            <a:pPr defTabSz="995124"/>
            <a:endParaRPr lang="ru-RU" sz="1100" dirty="0">
              <a:solidFill>
                <a:srgbClr val="404040"/>
              </a:solidFill>
              <a:latin typeface="Trebuchet MS" panose="020B0603020202020204" pitchFamily="34" charset="0"/>
            </a:endParaRPr>
          </a:p>
        </p:txBody>
      </p:sp>
      <p:sp>
        <p:nvSpPr>
          <p:cNvPr id="260" name="TextBox 259"/>
          <p:cNvSpPr txBox="1"/>
          <p:nvPr/>
        </p:nvSpPr>
        <p:spPr>
          <a:xfrm>
            <a:off x="392395" y="2865884"/>
            <a:ext cx="2275866" cy="964296"/>
          </a:xfrm>
          <a:prstGeom prst="rect">
            <a:avLst/>
          </a:prstGeom>
          <a:noFill/>
        </p:spPr>
        <p:txBody>
          <a:bodyPr wrap="square" lIns="116770" tIns="58385" rIns="116770" bIns="58385" rtlCol="0">
            <a:spAutoFit/>
          </a:bodyPr>
          <a:lstStyle/>
          <a:p>
            <a:pPr defTabSz="995124"/>
            <a:r>
              <a:rPr lang="ru-RU" sz="1100" b="1" dirty="0">
                <a:solidFill>
                  <a:srgbClr val="0E80A5"/>
                </a:solidFill>
                <a:latin typeface="Trebuchet MS" panose="020B0603020202020204" pitchFamily="34" charset="0"/>
              </a:rPr>
              <a:t>Понимание экономики производства и знание английского языка</a:t>
            </a:r>
          </a:p>
          <a:p>
            <a:pPr marL="171450" indent="-171450" defTabSz="995124">
              <a:buFontTx/>
              <a:buChar char="-"/>
            </a:pPr>
            <a:endParaRPr lang="ru-RU" sz="1100" dirty="0">
              <a:solidFill>
                <a:srgbClr val="404040"/>
              </a:solidFill>
              <a:latin typeface="Trebuchet MS" panose="020B0603020202020204" pitchFamily="34" charset="0"/>
            </a:endParaRPr>
          </a:p>
          <a:p>
            <a:pPr defTabSz="995124"/>
            <a:endParaRPr lang="ru-RU" sz="1100" dirty="0">
              <a:solidFill>
                <a:srgbClr val="404040"/>
              </a:solidFill>
              <a:latin typeface="Trebuchet MS" panose="020B0603020202020204" pitchFamily="34" charset="0"/>
            </a:endParaRPr>
          </a:p>
        </p:txBody>
      </p:sp>
      <p:sp>
        <p:nvSpPr>
          <p:cNvPr id="261" name="Freeform 67"/>
          <p:cNvSpPr>
            <a:spLocks noChangeAspect="1"/>
          </p:cNvSpPr>
          <p:nvPr/>
        </p:nvSpPr>
        <p:spPr bwMode="auto">
          <a:xfrm>
            <a:off x="8997461" y="3679858"/>
            <a:ext cx="228144" cy="260736"/>
          </a:xfrm>
          <a:custGeom>
            <a:avLst/>
            <a:gdLst>
              <a:gd name="T0" fmla="*/ 2147483647 w 4180"/>
              <a:gd name="T1" fmla="*/ 2147483647 h 4763"/>
              <a:gd name="T2" fmla="*/ 2147483647 w 4180"/>
              <a:gd name="T3" fmla="*/ 2147483647 h 4763"/>
              <a:gd name="T4" fmla="*/ 2147483647 w 4180"/>
              <a:gd name="T5" fmla="*/ 2147483647 h 4763"/>
              <a:gd name="T6" fmla="*/ 2147483647 w 4180"/>
              <a:gd name="T7" fmla="*/ 2147483647 h 4763"/>
              <a:gd name="T8" fmla="*/ 2147483647 w 4180"/>
              <a:gd name="T9" fmla="*/ 2147483647 h 4763"/>
              <a:gd name="T10" fmla="*/ 2147483647 w 4180"/>
              <a:gd name="T11" fmla="*/ 2147483647 h 4763"/>
              <a:gd name="T12" fmla="*/ 2147483647 w 4180"/>
              <a:gd name="T13" fmla="*/ 2147483647 h 4763"/>
              <a:gd name="T14" fmla="*/ 2147483647 w 4180"/>
              <a:gd name="T15" fmla="*/ 2147483647 h 4763"/>
              <a:gd name="T16" fmla="*/ 2147483647 w 4180"/>
              <a:gd name="T17" fmla="*/ 2147483647 h 4763"/>
              <a:gd name="T18" fmla="*/ 2147483647 w 4180"/>
              <a:gd name="T19" fmla="*/ 2147483647 h 4763"/>
              <a:gd name="T20" fmla="*/ 2147483647 w 4180"/>
              <a:gd name="T21" fmla="*/ 2147483647 h 4763"/>
              <a:gd name="T22" fmla="*/ 2147483647 w 4180"/>
              <a:gd name="T23" fmla="*/ 2147483647 h 4763"/>
              <a:gd name="T24" fmla="*/ 2147483647 w 4180"/>
              <a:gd name="T25" fmla="*/ 2147483647 h 4763"/>
              <a:gd name="T26" fmla="*/ 2147483647 w 4180"/>
              <a:gd name="T27" fmla="*/ 2147483647 h 4763"/>
              <a:gd name="T28" fmla="*/ 2147483647 w 4180"/>
              <a:gd name="T29" fmla="*/ 2147483647 h 4763"/>
              <a:gd name="T30" fmla="*/ 2147483647 w 4180"/>
              <a:gd name="T31" fmla="*/ 2147483647 h 4763"/>
              <a:gd name="T32" fmla="*/ 2147483647 w 4180"/>
              <a:gd name="T33" fmla="*/ 2147483647 h 4763"/>
              <a:gd name="T34" fmla="*/ 2147483647 w 4180"/>
              <a:gd name="T35" fmla="*/ 2147483647 h 4763"/>
              <a:gd name="T36" fmla="*/ 2147483647 w 4180"/>
              <a:gd name="T37" fmla="*/ 2147483647 h 4763"/>
              <a:gd name="T38" fmla="*/ 2147483647 w 4180"/>
              <a:gd name="T39" fmla="*/ 2147483647 h 4763"/>
              <a:gd name="T40" fmla="*/ 2147483647 w 4180"/>
              <a:gd name="T41" fmla="*/ 2147483647 h 4763"/>
              <a:gd name="T42" fmla="*/ 2147483647 w 4180"/>
              <a:gd name="T43" fmla="*/ 2147483647 h 4763"/>
              <a:gd name="T44" fmla="*/ 2147483647 w 4180"/>
              <a:gd name="T45" fmla="*/ 2147483647 h 4763"/>
              <a:gd name="T46" fmla="*/ 2147483647 w 4180"/>
              <a:gd name="T47" fmla="*/ 2147483647 h 4763"/>
              <a:gd name="T48" fmla="*/ 2147483647 w 4180"/>
              <a:gd name="T49" fmla="*/ 2147483647 h 4763"/>
              <a:gd name="T50" fmla="*/ 2147483647 w 4180"/>
              <a:gd name="T51" fmla="*/ 2147483647 h 4763"/>
              <a:gd name="T52" fmla="*/ 2147483647 w 4180"/>
              <a:gd name="T53" fmla="*/ 2147483647 h 4763"/>
              <a:gd name="T54" fmla="*/ 2147483647 w 4180"/>
              <a:gd name="T55" fmla="*/ 2147483647 h 4763"/>
              <a:gd name="T56" fmla="*/ 2147483647 w 4180"/>
              <a:gd name="T57" fmla="*/ 2147483647 h 4763"/>
              <a:gd name="T58" fmla="*/ 2147483647 w 4180"/>
              <a:gd name="T59" fmla="*/ 2147483647 h 4763"/>
              <a:gd name="T60" fmla="*/ 2147483647 w 4180"/>
              <a:gd name="T61" fmla="*/ 2147483647 h 4763"/>
              <a:gd name="T62" fmla="*/ 2147483647 w 4180"/>
              <a:gd name="T63" fmla="*/ 2147483647 h 4763"/>
              <a:gd name="T64" fmla="*/ 2147483647 w 4180"/>
              <a:gd name="T65" fmla="*/ 2147483647 h 4763"/>
              <a:gd name="T66" fmla="*/ 2147483647 w 4180"/>
              <a:gd name="T67" fmla="*/ 2147483647 h 4763"/>
              <a:gd name="T68" fmla="*/ 2147483647 w 4180"/>
              <a:gd name="T69" fmla="*/ 2147483647 h 4763"/>
              <a:gd name="T70" fmla="*/ 2147483647 w 4180"/>
              <a:gd name="T71" fmla="*/ 2147483647 h 4763"/>
              <a:gd name="T72" fmla="*/ 2147483647 w 4180"/>
              <a:gd name="T73" fmla="*/ 2147483647 h 4763"/>
              <a:gd name="T74" fmla="*/ 2147483647 w 4180"/>
              <a:gd name="T75" fmla="*/ 2147483647 h 4763"/>
              <a:gd name="T76" fmla="*/ 2147483647 w 4180"/>
              <a:gd name="T77" fmla="*/ 2147483647 h 4763"/>
              <a:gd name="T78" fmla="*/ 2147483647 w 4180"/>
              <a:gd name="T79" fmla="*/ 2147483647 h 4763"/>
              <a:gd name="T80" fmla="*/ 2147483647 w 4180"/>
              <a:gd name="T81" fmla="*/ 2147483647 h 4763"/>
              <a:gd name="T82" fmla="*/ 2147483647 w 4180"/>
              <a:gd name="T83" fmla="*/ 2147483647 h 4763"/>
              <a:gd name="T84" fmla="*/ 2147483647 w 4180"/>
              <a:gd name="T85" fmla="*/ 2147483647 h 4763"/>
              <a:gd name="T86" fmla="*/ 2147483647 w 4180"/>
              <a:gd name="T87" fmla="*/ 2147483647 h 4763"/>
              <a:gd name="T88" fmla="*/ 2147483647 w 4180"/>
              <a:gd name="T89" fmla="*/ 2147483647 h 4763"/>
              <a:gd name="T90" fmla="*/ 2147483647 w 4180"/>
              <a:gd name="T91" fmla="*/ 2147483647 h 4763"/>
              <a:gd name="T92" fmla="*/ 2147483647 w 4180"/>
              <a:gd name="T93" fmla="*/ 2147483647 h 4763"/>
              <a:gd name="T94" fmla="*/ 2147483647 w 4180"/>
              <a:gd name="T95" fmla="*/ 2147483647 h 4763"/>
              <a:gd name="T96" fmla="*/ 2147483647 w 4180"/>
              <a:gd name="T97" fmla="*/ 2147483647 h 4763"/>
              <a:gd name="T98" fmla="*/ 2147483647 w 4180"/>
              <a:gd name="T99" fmla="*/ 2147483647 h 4763"/>
              <a:gd name="T100" fmla="*/ 2147483647 w 4180"/>
              <a:gd name="T101" fmla="*/ 2147483647 h 4763"/>
              <a:gd name="T102" fmla="*/ 2147483647 w 4180"/>
              <a:gd name="T103" fmla="*/ 2147483647 h 4763"/>
              <a:gd name="T104" fmla="*/ 2147483647 w 4180"/>
              <a:gd name="T105" fmla="*/ 2147483647 h 4763"/>
              <a:gd name="T106" fmla="*/ 0 w 4180"/>
              <a:gd name="T107" fmla="*/ 2147483647 h 4763"/>
              <a:gd name="T108" fmla="*/ 2147483647 w 4180"/>
              <a:gd name="T109" fmla="*/ 2147483647 h 4763"/>
              <a:gd name="T110" fmla="*/ 2147483647 w 4180"/>
              <a:gd name="T111" fmla="*/ 2147483647 h 4763"/>
              <a:gd name="T112" fmla="*/ 2147483647 w 4180"/>
              <a:gd name="T113" fmla="*/ 2147483647 h 476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180"/>
              <a:gd name="T172" fmla="*/ 0 h 4763"/>
              <a:gd name="T173" fmla="*/ 4180 w 4180"/>
              <a:gd name="T174" fmla="*/ 4763 h 476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180" h="4763">
                <a:moveTo>
                  <a:pt x="1861" y="1508"/>
                </a:moveTo>
                <a:lnTo>
                  <a:pt x="1861" y="1508"/>
                </a:lnTo>
                <a:lnTo>
                  <a:pt x="1804" y="1509"/>
                </a:lnTo>
                <a:lnTo>
                  <a:pt x="1749" y="1512"/>
                </a:lnTo>
                <a:lnTo>
                  <a:pt x="1693" y="1517"/>
                </a:lnTo>
                <a:lnTo>
                  <a:pt x="1638" y="1524"/>
                </a:lnTo>
                <a:lnTo>
                  <a:pt x="1583" y="1533"/>
                </a:lnTo>
                <a:lnTo>
                  <a:pt x="1531" y="1544"/>
                </a:lnTo>
                <a:lnTo>
                  <a:pt x="1478" y="1557"/>
                </a:lnTo>
                <a:lnTo>
                  <a:pt x="1425" y="1571"/>
                </a:lnTo>
                <a:lnTo>
                  <a:pt x="1373" y="1588"/>
                </a:lnTo>
                <a:lnTo>
                  <a:pt x="1323" y="1607"/>
                </a:lnTo>
                <a:lnTo>
                  <a:pt x="1273" y="1626"/>
                </a:lnTo>
                <a:lnTo>
                  <a:pt x="1224" y="1647"/>
                </a:lnTo>
                <a:lnTo>
                  <a:pt x="1177" y="1670"/>
                </a:lnTo>
                <a:lnTo>
                  <a:pt x="1130" y="1696"/>
                </a:lnTo>
                <a:lnTo>
                  <a:pt x="1084" y="1722"/>
                </a:lnTo>
                <a:lnTo>
                  <a:pt x="1039" y="1750"/>
                </a:lnTo>
                <a:lnTo>
                  <a:pt x="916" y="1571"/>
                </a:lnTo>
                <a:lnTo>
                  <a:pt x="967" y="1539"/>
                </a:lnTo>
                <a:lnTo>
                  <a:pt x="1020" y="1509"/>
                </a:lnTo>
                <a:lnTo>
                  <a:pt x="1074" y="1481"/>
                </a:lnTo>
                <a:lnTo>
                  <a:pt x="1128" y="1454"/>
                </a:lnTo>
                <a:lnTo>
                  <a:pt x="1185" y="1428"/>
                </a:lnTo>
                <a:lnTo>
                  <a:pt x="1242" y="1405"/>
                </a:lnTo>
                <a:lnTo>
                  <a:pt x="1300" y="1384"/>
                </a:lnTo>
                <a:lnTo>
                  <a:pt x="1360" y="1366"/>
                </a:lnTo>
                <a:lnTo>
                  <a:pt x="1420" y="1348"/>
                </a:lnTo>
                <a:lnTo>
                  <a:pt x="1480" y="1333"/>
                </a:lnTo>
                <a:lnTo>
                  <a:pt x="1541" y="1321"/>
                </a:lnTo>
                <a:lnTo>
                  <a:pt x="1605" y="1310"/>
                </a:lnTo>
                <a:lnTo>
                  <a:pt x="1667" y="1302"/>
                </a:lnTo>
                <a:lnTo>
                  <a:pt x="1731" y="1296"/>
                </a:lnTo>
                <a:lnTo>
                  <a:pt x="1796" y="1292"/>
                </a:lnTo>
                <a:lnTo>
                  <a:pt x="1861" y="1291"/>
                </a:lnTo>
                <a:lnTo>
                  <a:pt x="1913" y="1292"/>
                </a:lnTo>
                <a:lnTo>
                  <a:pt x="1964" y="1294"/>
                </a:lnTo>
                <a:lnTo>
                  <a:pt x="2014" y="1298"/>
                </a:lnTo>
                <a:lnTo>
                  <a:pt x="2064" y="1303"/>
                </a:lnTo>
                <a:lnTo>
                  <a:pt x="2113" y="1310"/>
                </a:lnTo>
                <a:lnTo>
                  <a:pt x="2163" y="1318"/>
                </a:lnTo>
                <a:lnTo>
                  <a:pt x="2212" y="1326"/>
                </a:lnTo>
                <a:lnTo>
                  <a:pt x="2259" y="1337"/>
                </a:lnTo>
                <a:lnTo>
                  <a:pt x="2307" y="1349"/>
                </a:lnTo>
                <a:lnTo>
                  <a:pt x="2354" y="1363"/>
                </a:lnTo>
                <a:lnTo>
                  <a:pt x="2402" y="1376"/>
                </a:lnTo>
                <a:lnTo>
                  <a:pt x="2448" y="1393"/>
                </a:lnTo>
                <a:lnTo>
                  <a:pt x="2492" y="1410"/>
                </a:lnTo>
                <a:lnTo>
                  <a:pt x="2537" y="1428"/>
                </a:lnTo>
                <a:lnTo>
                  <a:pt x="2582" y="1448"/>
                </a:lnTo>
                <a:lnTo>
                  <a:pt x="2625" y="1468"/>
                </a:lnTo>
                <a:lnTo>
                  <a:pt x="3671" y="0"/>
                </a:lnTo>
                <a:lnTo>
                  <a:pt x="4180" y="737"/>
                </a:lnTo>
                <a:lnTo>
                  <a:pt x="1946" y="3874"/>
                </a:lnTo>
                <a:lnTo>
                  <a:pt x="1216" y="3859"/>
                </a:lnTo>
                <a:lnTo>
                  <a:pt x="387" y="2661"/>
                </a:lnTo>
                <a:lnTo>
                  <a:pt x="377" y="2704"/>
                </a:lnTo>
                <a:lnTo>
                  <a:pt x="368" y="2749"/>
                </a:lnTo>
                <a:lnTo>
                  <a:pt x="360" y="2795"/>
                </a:lnTo>
                <a:lnTo>
                  <a:pt x="354" y="2841"/>
                </a:lnTo>
                <a:lnTo>
                  <a:pt x="349" y="2887"/>
                </a:lnTo>
                <a:lnTo>
                  <a:pt x="345" y="2933"/>
                </a:lnTo>
                <a:lnTo>
                  <a:pt x="343" y="2980"/>
                </a:lnTo>
                <a:lnTo>
                  <a:pt x="343" y="3026"/>
                </a:lnTo>
                <a:lnTo>
                  <a:pt x="343" y="3066"/>
                </a:lnTo>
                <a:lnTo>
                  <a:pt x="344" y="3105"/>
                </a:lnTo>
                <a:lnTo>
                  <a:pt x="347" y="3144"/>
                </a:lnTo>
                <a:lnTo>
                  <a:pt x="351" y="3182"/>
                </a:lnTo>
                <a:lnTo>
                  <a:pt x="355" y="3220"/>
                </a:lnTo>
                <a:lnTo>
                  <a:pt x="360" y="3258"/>
                </a:lnTo>
                <a:lnTo>
                  <a:pt x="366" y="3296"/>
                </a:lnTo>
                <a:lnTo>
                  <a:pt x="374" y="3332"/>
                </a:lnTo>
                <a:lnTo>
                  <a:pt x="382" y="3370"/>
                </a:lnTo>
                <a:lnTo>
                  <a:pt x="390" y="3407"/>
                </a:lnTo>
                <a:lnTo>
                  <a:pt x="400" y="3442"/>
                </a:lnTo>
                <a:lnTo>
                  <a:pt x="410" y="3479"/>
                </a:lnTo>
                <a:lnTo>
                  <a:pt x="423" y="3514"/>
                </a:lnTo>
                <a:lnTo>
                  <a:pt x="435" y="3549"/>
                </a:lnTo>
                <a:lnTo>
                  <a:pt x="448" y="3584"/>
                </a:lnTo>
                <a:lnTo>
                  <a:pt x="462" y="3618"/>
                </a:lnTo>
                <a:lnTo>
                  <a:pt x="477" y="3652"/>
                </a:lnTo>
                <a:lnTo>
                  <a:pt x="493" y="3686"/>
                </a:lnTo>
                <a:lnTo>
                  <a:pt x="509" y="3719"/>
                </a:lnTo>
                <a:lnTo>
                  <a:pt x="526" y="3751"/>
                </a:lnTo>
                <a:lnTo>
                  <a:pt x="543" y="3784"/>
                </a:lnTo>
                <a:lnTo>
                  <a:pt x="562" y="3815"/>
                </a:lnTo>
                <a:lnTo>
                  <a:pt x="582" y="3846"/>
                </a:lnTo>
                <a:lnTo>
                  <a:pt x="601" y="3876"/>
                </a:lnTo>
                <a:lnTo>
                  <a:pt x="623" y="3907"/>
                </a:lnTo>
                <a:lnTo>
                  <a:pt x="645" y="3935"/>
                </a:lnTo>
                <a:lnTo>
                  <a:pt x="666" y="3965"/>
                </a:lnTo>
                <a:lnTo>
                  <a:pt x="689" y="3994"/>
                </a:lnTo>
                <a:lnTo>
                  <a:pt x="712" y="4021"/>
                </a:lnTo>
                <a:lnTo>
                  <a:pt x="737" y="4048"/>
                </a:lnTo>
                <a:lnTo>
                  <a:pt x="763" y="4075"/>
                </a:lnTo>
                <a:lnTo>
                  <a:pt x="787" y="4101"/>
                </a:lnTo>
                <a:lnTo>
                  <a:pt x="814" y="4126"/>
                </a:lnTo>
                <a:lnTo>
                  <a:pt x="840" y="4151"/>
                </a:lnTo>
                <a:lnTo>
                  <a:pt x="867" y="4175"/>
                </a:lnTo>
                <a:lnTo>
                  <a:pt x="895" y="4199"/>
                </a:lnTo>
                <a:lnTo>
                  <a:pt x="924" y="4222"/>
                </a:lnTo>
                <a:lnTo>
                  <a:pt x="952" y="4244"/>
                </a:lnTo>
                <a:lnTo>
                  <a:pt x="982" y="4266"/>
                </a:lnTo>
                <a:lnTo>
                  <a:pt x="1012" y="4286"/>
                </a:lnTo>
                <a:lnTo>
                  <a:pt x="1043" y="4306"/>
                </a:lnTo>
                <a:lnTo>
                  <a:pt x="1074" y="4325"/>
                </a:lnTo>
                <a:lnTo>
                  <a:pt x="1105" y="4344"/>
                </a:lnTo>
                <a:lnTo>
                  <a:pt x="1138" y="4362"/>
                </a:lnTo>
                <a:lnTo>
                  <a:pt x="1170" y="4380"/>
                </a:lnTo>
                <a:lnTo>
                  <a:pt x="1203" y="4396"/>
                </a:lnTo>
                <a:lnTo>
                  <a:pt x="1237" y="4412"/>
                </a:lnTo>
                <a:lnTo>
                  <a:pt x="1271" y="4427"/>
                </a:lnTo>
                <a:lnTo>
                  <a:pt x="1304" y="4441"/>
                </a:lnTo>
                <a:lnTo>
                  <a:pt x="1340" y="4454"/>
                </a:lnTo>
                <a:lnTo>
                  <a:pt x="1375" y="4466"/>
                </a:lnTo>
                <a:lnTo>
                  <a:pt x="1410" y="4477"/>
                </a:lnTo>
                <a:lnTo>
                  <a:pt x="1445" y="4488"/>
                </a:lnTo>
                <a:lnTo>
                  <a:pt x="1482" y="4497"/>
                </a:lnTo>
                <a:lnTo>
                  <a:pt x="1518" y="4507"/>
                </a:lnTo>
                <a:lnTo>
                  <a:pt x="1555" y="4515"/>
                </a:lnTo>
                <a:lnTo>
                  <a:pt x="1593" y="4522"/>
                </a:lnTo>
                <a:lnTo>
                  <a:pt x="1629" y="4529"/>
                </a:lnTo>
                <a:lnTo>
                  <a:pt x="1667" y="4534"/>
                </a:lnTo>
                <a:lnTo>
                  <a:pt x="1707" y="4538"/>
                </a:lnTo>
                <a:lnTo>
                  <a:pt x="1745" y="4541"/>
                </a:lnTo>
                <a:lnTo>
                  <a:pt x="1783" y="4544"/>
                </a:lnTo>
                <a:lnTo>
                  <a:pt x="1822" y="4545"/>
                </a:lnTo>
                <a:lnTo>
                  <a:pt x="1861" y="4546"/>
                </a:lnTo>
                <a:lnTo>
                  <a:pt x="1900" y="4545"/>
                </a:lnTo>
                <a:lnTo>
                  <a:pt x="1940" y="4544"/>
                </a:lnTo>
                <a:lnTo>
                  <a:pt x="1978" y="4541"/>
                </a:lnTo>
                <a:lnTo>
                  <a:pt x="2017" y="4538"/>
                </a:lnTo>
                <a:lnTo>
                  <a:pt x="2055" y="4534"/>
                </a:lnTo>
                <a:lnTo>
                  <a:pt x="2093" y="4529"/>
                </a:lnTo>
                <a:lnTo>
                  <a:pt x="2131" y="4522"/>
                </a:lnTo>
                <a:lnTo>
                  <a:pt x="2167" y="4515"/>
                </a:lnTo>
                <a:lnTo>
                  <a:pt x="2204" y="4507"/>
                </a:lnTo>
                <a:lnTo>
                  <a:pt x="2240" y="4497"/>
                </a:lnTo>
                <a:lnTo>
                  <a:pt x="2277" y="4488"/>
                </a:lnTo>
                <a:lnTo>
                  <a:pt x="2313" y="4477"/>
                </a:lnTo>
                <a:lnTo>
                  <a:pt x="2349" y="4466"/>
                </a:lnTo>
                <a:lnTo>
                  <a:pt x="2384" y="4454"/>
                </a:lnTo>
                <a:lnTo>
                  <a:pt x="2418" y="4441"/>
                </a:lnTo>
                <a:lnTo>
                  <a:pt x="2453" y="4427"/>
                </a:lnTo>
                <a:lnTo>
                  <a:pt x="2487" y="4412"/>
                </a:lnTo>
                <a:lnTo>
                  <a:pt x="2519" y="4396"/>
                </a:lnTo>
                <a:lnTo>
                  <a:pt x="2553" y="4380"/>
                </a:lnTo>
                <a:lnTo>
                  <a:pt x="2586" y="4362"/>
                </a:lnTo>
                <a:lnTo>
                  <a:pt x="2617" y="4344"/>
                </a:lnTo>
                <a:lnTo>
                  <a:pt x="2649" y="4325"/>
                </a:lnTo>
                <a:lnTo>
                  <a:pt x="2679" y="4306"/>
                </a:lnTo>
                <a:lnTo>
                  <a:pt x="2710" y="4286"/>
                </a:lnTo>
                <a:lnTo>
                  <a:pt x="2740" y="4266"/>
                </a:lnTo>
                <a:lnTo>
                  <a:pt x="2770" y="4244"/>
                </a:lnTo>
                <a:lnTo>
                  <a:pt x="2798" y="4222"/>
                </a:lnTo>
                <a:lnTo>
                  <a:pt x="2827" y="4199"/>
                </a:lnTo>
                <a:lnTo>
                  <a:pt x="2855" y="4175"/>
                </a:lnTo>
                <a:lnTo>
                  <a:pt x="2882" y="4151"/>
                </a:lnTo>
                <a:lnTo>
                  <a:pt x="2909" y="4126"/>
                </a:lnTo>
                <a:lnTo>
                  <a:pt x="2935" y="4101"/>
                </a:lnTo>
                <a:lnTo>
                  <a:pt x="2961" y="4075"/>
                </a:lnTo>
                <a:lnTo>
                  <a:pt x="2985" y="4048"/>
                </a:lnTo>
                <a:lnTo>
                  <a:pt x="3010" y="4021"/>
                </a:lnTo>
                <a:lnTo>
                  <a:pt x="3033" y="3994"/>
                </a:lnTo>
                <a:lnTo>
                  <a:pt x="3056" y="3965"/>
                </a:lnTo>
                <a:lnTo>
                  <a:pt x="3079" y="3935"/>
                </a:lnTo>
                <a:lnTo>
                  <a:pt x="3100" y="3907"/>
                </a:lnTo>
                <a:lnTo>
                  <a:pt x="3121" y="3876"/>
                </a:lnTo>
                <a:lnTo>
                  <a:pt x="3141" y="3846"/>
                </a:lnTo>
                <a:lnTo>
                  <a:pt x="3160" y="3815"/>
                </a:lnTo>
                <a:lnTo>
                  <a:pt x="3179" y="3784"/>
                </a:lnTo>
                <a:lnTo>
                  <a:pt x="3197" y="3751"/>
                </a:lnTo>
                <a:lnTo>
                  <a:pt x="3214" y="3719"/>
                </a:lnTo>
                <a:lnTo>
                  <a:pt x="3230" y="3686"/>
                </a:lnTo>
                <a:lnTo>
                  <a:pt x="3245" y="3652"/>
                </a:lnTo>
                <a:lnTo>
                  <a:pt x="3260" y="3618"/>
                </a:lnTo>
                <a:lnTo>
                  <a:pt x="3275" y="3584"/>
                </a:lnTo>
                <a:lnTo>
                  <a:pt x="3287" y="3549"/>
                </a:lnTo>
                <a:lnTo>
                  <a:pt x="3300" y="3514"/>
                </a:lnTo>
                <a:lnTo>
                  <a:pt x="3312" y="3479"/>
                </a:lnTo>
                <a:lnTo>
                  <a:pt x="3323" y="3442"/>
                </a:lnTo>
                <a:lnTo>
                  <a:pt x="3332" y="3407"/>
                </a:lnTo>
                <a:lnTo>
                  <a:pt x="3342" y="3370"/>
                </a:lnTo>
                <a:lnTo>
                  <a:pt x="3350" y="3332"/>
                </a:lnTo>
                <a:lnTo>
                  <a:pt x="3356" y="3296"/>
                </a:lnTo>
                <a:lnTo>
                  <a:pt x="3362" y="3258"/>
                </a:lnTo>
                <a:lnTo>
                  <a:pt x="3367" y="3220"/>
                </a:lnTo>
                <a:lnTo>
                  <a:pt x="3373" y="3182"/>
                </a:lnTo>
                <a:lnTo>
                  <a:pt x="3375" y="3144"/>
                </a:lnTo>
                <a:lnTo>
                  <a:pt x="3378" y="3105"/>
                </a:lnTo>
                <a:lnTo>
                  <a:pt x="3379" y="3066"/>
                </a:lnTo>
                <a:lnTo>
                  <a:pt x="3379" y="3026"/>
                </a:lnTo>
                <a:lnTo>
                  <a:pt x="3379" y="2987"/>
                </a:lnTo>
                <a:lnTo>
                  <a:pt x="3378" y="2946"/>
                </a:lnTo>
                <a:lnTo>
                  <a:pt x="3375" y="2907"/>
                </a:lnTo>
                <a:lnTo>
                  <a:pt x="3371" y="2868"/>
                </a:lnTo>
                <a:lnTo>
                  <a:pt x="3367" y="2829"/>
                </a:lnTo>
                <a:lnTo>
                  <a:pt x="3362" y="2789"/>
                </a:lnTo>
                <a:lnTo>
                  <a:pt x="3355" y="2751"/>
                </a:lnTo>
                <a:lnTo>
                  <a:pt x="3347" y="2713"/>
                </a:lnTo>
                <a:lnTo>
                  <a:pt x="3339" y="2675"/>
                </a:lnTo>
                <a:lnTo>
                  <a:pt x="3329" y="2638"/>
                </a:lnTo>
                <a:lnTo>
                  <a:pt x="3320" y="2601"/>
                </a:lnTo>
                <a:lnTo>
                  <a:pt x="3308" y="2563"/>
                </a:lnTo>
                <a:lnTo>
                  <a:pt x="3296" y="2528"/>
                </a:lnTo>
                <a:lnTo>
                  <a:pt x="3283" y="2491"/>
                </a:lnTo>
                <a:lnTo>
                  <a:pt x="3268" y="2456"/>
                </a:lnTo>
                <a:lnTo>
                  <a:pt x="3255" y="2421"/>
                </a:lnTo>
                <a:lnTo>
                  <a:pt x="3398" y="2219"/>
                </a:lnTo>
                <a:lnTo>
                  <a:pt x="3421" y="2265"/>
                </a:lnTo>
                <a:lnTo>
                  <a:pt x="3443" y="2311"/>
                </a:lnTo>
                <a:lnTo>
                  <a:pt x="3463" y="2358"/>
                </a:lnTo>
                <a:lnTo>
                  <a:pt x="3482" y="2406"/>
                </a:lnTo>
                <a:lnTo>
                  <a:pt x="3500" y="2455"/>
                </a:lnTo>
                <a:lnTo>
                  <a:pt x="3516" y="2503"/>
                </a:lnTo>
                <a:lnTo>
                  <a:pt x="3531" y="2554"/>
                </a:lnTo>
                <a:lnTo>
                  <a:pt x="3545" y="2604"/>
                </a:lnTo>
                <a:lnTo>
                  <a:pt x="3557" y="2655"/>
                </a:lnTo>
                <a:lnTo>
                  <a:pt x="3568" y="2707"/>
                </a:lnTo>
                <a:lnTo>
                  <a:pt x="3576" y="2759"/>
                </a:lnTo>
                <a:lnTo>
                  <a:pt x="3584" y="2812"/>
                </a:lnTo>
                <a:lnTo>
                  <a:pt x="3589" y="2865"/>
                </a:lnTo>
                <a:lnTo>
                  <a:pt x="3593" y="2918"/>
                </a:lnTo>
                <a:lnTo>
                  <a:pt x="3596" y="2972"/>
                </a:lnTo>
                <a:lnTo>
                  <a:pt x="3596" y="3026"/>
                </a:lnTo>
                <a:lnTo>
                  <a:pt x="3596" y="3072"/>
                </a:lnTo>
                <a:lnTo>
                  <a:pt x="3595" y="3116"/>
                </a:lnTo>
                <a:lnTo>
                  <a:pt x="3592" y="3160"/>
                </a:lnTo>
                <a:lnTo>
                  <a:pt x="3588" y="3204"/>
                </a:lnTo>
                <a:lnTo>
                  <a:pt x="3583" y="3248"/>
                </a:lnTo>
                <a:lnTo>
                  <a:pt x="3577" y="3292"/>
                </a:lnTo>
                <a:lnTo>
                  <a:pt x="3569" y="3334"/>
                </a:lnTo>
                <a:lnTo>
                  <a:pt x="3561" y="3377"/>
                </a:lnTo>
                <a:lnTo>
                  <a:pt x="3553" y="3419"/>
                </a:lnTo>
                <a:lnTo>
                  <a:pt x="3542" y="3461"/>
                </a:lnTo>
                <a:lnTo>
                  <a:pt x="3531" y="3502"/>
                </a:lnTo>
                <a:lnTo>
                  <a:pt x="3519" y="3542"/>
                </a:lnTo>
                <a:lnTo>
                  <a:pt x="3505" y="3583"/>
                </a:lnTo>
                <a:lnTo>
                  <a:pt x="3492" y="3624"/>
                </a:lnTo>
                <a:lnTo>
                  <a:pt x="3476" y="3663"/>
                </a:lnTo>
                <a:lnTo>
                  <a:pt x="3461" y="3702"/>
                </a:lnTo>
                <a:lnTo>
                  <a:pt x="3443" y="3742"/>
                </a:lnTo>
                <a:lnTo>
                  <a:pt x="3426" y="3780"/>
                </a:lnTo>
                <a:lnTo>
                  <a:pt x="3407" y="3817"/>
                </a:lnTo>
                <a:lnTo>
                  <a:pt x="3388" y="3854"/>
                </a:lnTo>
                <a:lnTo>
                  <a:pt x="3367" y="3891"/>
                </a:lnTo>
                <a:lnTo>
                  <a:pt x="3346" y="3927"/>
                </a:lnTo>
                <a:lnTo>
                  <a:pt x="3324" y="3962"/>
                </a:lnTo>
                <a:lnTo>
                  <a:pt x="3301" y="3998"/>
                </a:lnTo>
                <a:lnTo>
                  <a:pt x="3277" y="4031"/>
                </a:lnTo>
                <a:lnTo>
                  <a:pt x="3252" y="4065"/>
                </a:lnTo>
                <a:lnTo>
                  <a:pt x="3226" y="4098"/>
                </a:lnTo>
                <a:lnTo>
                  <a:pt x="3201" y="4130"/>
                </a:lnTo>
                <a:lnTo>
                  <a:pt x="3174" y="4163"/>
                </a:lnTo>
                <a:lnTo>
                  <a:pt x="3147" y="4194"/>
                </a:lnTo>
                <a:lnTo>
                  <a:pt x="3118" y="4224"/>
                </a:lnTo>
                <a:lnTo>
                  <a:pt x="3088" y="4254"/>
                </a:lnTo>
                <a:lnTo>
                  <a:pt x="3058" y="4283"/>
                </a:lnTo>
                <a:lnTo>
                  <a:pt x="3029" y="4312"/>
                </a:lnTo>
                <a:lnTo>
                  <a:pt x="2998" y="4339"/>
                </a:lnTo>
                <a:lnTo>
                  <a:pt x="2965" y="4366"/>
                </a:lnTo>
                <a:lnTo>
                  <a:pt x="2933" y="4392"/>
                </a:lnTo>
                <a:lnTo>
                  <a:pt x="2900" y="4418"/>
                </a:lnTo>
                <a:lnTo>
                  <a:pt x="2866" y="4442"/>
                </a:lnTo>
                <a:lnTo>
                  <a:pt x="2831" y="4466"/>
                </a:lnTo>
                <a:lnTo>
                  <a:pt x="2797" y="4489"/>
                </a:lnTo>
                <a:lnTo>
                  <a:pt x="2762" y="4511"/>
                </a:lnTo>
                <a:lnTo>
                  <a:pt x="2725" y="4533"/>
                </a:lnTo>
                <a:lnTo>
                  <a:pt x="2689" y="4553"/>
                </a:lnTo>
                <a:lnTo>
                  <a:pt x="2651" y="4573"/>
                </a:lnTo>
                <a:lnTo>
                  <a:pt x="2614" y="4591"/>
                </a:lnTo>
                <a:lnTo>
                  <a:pt x="2575" y="4609"/>
                </a:lnTo>
                <a:lnTo>
                  <a:pt x="2537" y="4626"/>
                </a:lnTo>
                <a:lnTo>
                  <a:pt x="2498" y="4642"/>
                </a:lnTo>
                <a:lnTo>
                  <a:pt x="2458" y="4657"/>
                </a:lnTo>
                <a:lnTo>
                  <a:pt x="2418" y="4671"/>
                </a:lnTo>
                <a:lnTo>
                  <a:pt x="2377" y="4684"/>
                </a:lnTo>
                <a:lnTo>
                  <a:pt x="2337" y="4697"/>
                </a:lnTo>
                <a:lnTo>
                  <a:pt x="2295" y="4707"/>
                </a:lnTo>
                <a:lnTo>
                  <a:pt x="2254" y="4718"/>
                </a:lnTo>
                <a:lnTo>
                  <a:pt x="2211" y="4728"/>
                </a:lnTo>
                <a:lnTo>
                  <a:pt x="2169" y="4736"/>
                </a:lnTo>
                <a:lnTo>
                  <a:pt x="2125" y="4743"/>
                </a:lnTo>
                <a:lnTo>
                  <a:pt x="2082" y="4748"/>
                </a:lnTo>
                <a:lnTo>
                  <a:pt x="2039" y="4754"/>
                </a:lnTo>
                <a:lnTo>
                  <a:pt x="1995" y="4758"/>
                </a:lnTo>
                <a:lnTo>
                  <a:pt x="1950" y="4760"/>
                </a:lnTo>
                <a:lnTo>
                  <a:pt x="1906" y="4762"/>
                </a:lnTo>
                <a:lnTo>
                  <a:pt x="1861" y="4763"/>
                </a:lnTo>
                <a:lnTo>
                  <a:pt x="1816" y="4762"/>
                </a:lnTo>
                <a:lnTo>
                  <a:pt x="1772" y="4760"/>
                </a:lnTo>
                <a:lnTo>
                  <a:pt x="1728" y="4758"/>
                </a:lnTo>
                <a:lnTo>
                  <a:pt x="1684" y="4754"/>
                </a:lnTo>
                <a:lnTo>
                  <a:pt x="1640" y="4748"/>
                </a:lnTo>
                <a:lnTo>
                  <a:pt x="1597" y="4743"/>
                </a:lnTo>
                <a:lnTo>
                  <a:pt x="1554" y="4736"/>
                </a:lnTo>
                <a:lnTo>
                  <a:pt x="1512" y="4728"/>
                </a:lnTo>
                <a:lnTo>
                  <a:pt x="1470" y="4718"/>
                </a:lnTo>
                <a:lnTo>
                  <a:pt x="1428" y="4707"/>
                </a:lnTo>
                <a:lnTo>
                  <a:pt x="1386" y="4697"/>
                </a:lnTo>
                <a:lnTo>
                  <a:pt x="1345" y="4684"/>
                </a:lnTo>
                <a:lnTo>
                  <a:pt x="1304" y="4671"/>
                </a:lnTo>
                <a:lnTo>
                  <a:pt x="1265" y="4657"/>
                </a:lnTo>
                <a:lnTo>
                  <a:pt x="1224" y="4642"/>
                </a:lnTo>
                <a:lnTo>
                  <a:pt x="1185" y="4626"/>
                </a:lnTo>
                <a:lnTo>
                  <a:pt x="1147" y="4609"/>
                </a:lnTo>
                <a:lnTo>
                  <a:pt x="1109" y="4591"/>
                </a:lnTo>
                <a:lnTo>
                  <a:pt x="1071" y="4573"/>
                </a:lnTo>
                <a:lnTo>
                  <a:pt x="1033" y="4553"/>
                </a:lnTo>
                <a:lnTo>
                  <a:pt x="997" y="4533"/>
                </a:lnTo>
                <a:lnTo>
                  <a:pt x="962" y="4511"/>
                </a:lnTo>
                <a:lnTo>
                  <a:pt x="926" y="4489"/>
                </a:lnTo>
                <a:lnTo>
                  <a:pt x="891" y="4466"/>
                </a:lnTo>
                <a:lnTo>
                  <a:pt x="856" y="4442"/>
                </a:lnTo>
                <a:lnTo>
                  <a:pt x="824" y="4418"/>
                </a:lnTo>
                <a:lnTo>
                  <a:pt x="790" y="4392"/>
                </a:lnTo>
                <a:lnTo>
                  <a:pt x="757" y="4366"/>
                </a:lnTo>
                <a:lnTo>
                  <a:pt x="726" y="4339"/>
                </a:lnTo>
                <a:lnTo>
                  <a:pt x="695" y="4312"/>
                </a:lnTo>
                <a:lnTo>
                  <a:pt x="664" y="4283"/>
                </a:lnTo>
                <a:lnTo>
                  <a:pt x="634" y="4254"/>
                </a:lnTo>
                <a:lnTo>
                  <a:pt x="605" y="4224"/>
                </a:lnTo>
                <a:lnTo>
                  <a:pt x="577" y="4194"/>
                </a:lnTo>
                <a:lnTo>
                  <a:pt x="549" y="4163"/>
                </a:lnTo>
                <a:lnTo>
                  <a:pt x="523" y="4130"/>
                </a:lnTo>
                <a:lnTo>
                  <a:pt x="496" y="4098"/>
                </a:lnTo>
                <a:lnTo>
                  <a:pt x="470" y="4065"/>
                </a:lnTo>
                <a:lnTo>
                  <a:pt x="446" y="4031"/>
                </a:lnTo>
                <a:lnTo>
                  <a:pt x="423" y="3998"/>
                </a:lnTo>
                <a:lnTo>
                  <a:pt x="400" y="3962"/>
                </a:lnTo>
                <a:lnTo>
                  <a:pt x="377" y="3927"/>
                </a:lnTo>
                <a:lnTo>
                  <a:pt x="356" y="3891"/>
                </a:lnTo>
                <a:lnTo>
                  <a:pt x="336" y="3854"/>
                </a:lnTo>
                <a:lnTo>
                  <a:pt x="316" y="3817"/>
                </a:lnTo>
                <a:lnTo>
                  <a:pt x="297" y="3780"/>
                </a:lnTo>
                <a:lnTo>
                  <a:pt x="279" y="3742"/>
                </a:lnTo>
                <a:lnTo>
                  <a:pt x="263" y="3702"/>
                </a:lnTo>
                <a:lnTo>
                  <a:pt x="247" y="3663"/>
                </a:lnTo>
                <a:lnTo>
                  <a:pt x="232" y="3624"/>
                </a:lnTo>
                <a:lnTo>
                  <a:pt x="217" y="3583"/>
                </a:lnTo>
                <a:lnTo>
                  <a:pt x="205" y="3542"/>
                </a:lnTo>
                <a:lnTo>
                  <a:pt x="192" y="3502"/>
                </a:lnTo>
                <a:lnTo>
                  <a:pt x="180" y="3461"/>
                </a:lnTo>
                <a:lnTo>
                  <a:pt x="171" y="3419"/>
                </a:lnTo>
                <a:lnTo>
                  <a:pt x="161" y="3377"/>
                </a:lnTo>
                <a:lnTo>
                  <a:pt x="153" y="3334"/>
                </a:lnTo>
                <a:lnTo>
                  <a:pt x="146" y="3292"/>
                </a:lnTo>
                <a:lnTo>
                  <a:pt x="140" y="3248"/>
                </a:lnTo>
                <a:lnTo>
                  <a:pt x="135" y="3204"/>
                </a:lnTo>
                <a:lnTo>
                  <a:pt x="131" y="3160"/>
                </a:lnTo>
                <a:lnTo>
                  <a:pt x="129" y="3116"/>
                </a:lnTo>
                <a:lnTo>
                  <a:pt x="126" y="3072"/>
                </a:lnTo>
                <a:lnTo>
                  <a:pt x="126" y="3026"/>
                </a:lnTo>
                <a:lnTo>
                  <a:pt x="126" y="2988"/>
                </a:lnTo>
                <a:lnTo>
                  <a:pt x="127" y="2949"/>
                </a:lnTo>
                <a:lnTo>
                  <a:pt x="130" y="2911"/>
                </a:lnTo>
                <a:lnTo>
                  <a:pt x="133" y="2872"/>
                </a:lnTo>
                <a:lnTo>
                  <a:pt x="137" y="2834"/>
                </a:lnTo>
                <a:lnTo>
                  <a:pt x="141" y="2796"/>
                </a:lnTo>
                <a:lnTo>
                  <a:pt x="146" y="2758"/>
                </a:lnTo>
                <a:lnTo>
                  <a:pt x="153" y="2722"/>
                </a:lnTo>
                <a:lnTo>
                  <a:pt x="160" y="2684"/>
                </a:lnTo>
                <a:lnTo>
                  <a:pt x="168" y="2647"/>
                </a:lnTo>
                <a:lnTo>
                  <a:pt x="176" y="2610"/>
                </a:lnTo>
                <a:lnTo>
                  <a:pt x="186" y="2575"/>
                </a:lnTo>
                <a:lnTo>
                  <a:pt x="206" y="2503"/>
                </a:lnTo>
                <a:lnTo>
                  <a:pt x="230" y="2433"/>
                </a:lnTo>
                <a:lnTo>
                  <a:pt x="0" y="2100"/>
                </a:lnTo>
                <a:lnTo>
                  <a:pt x="511" y="1382"/>
                </a:lnTo>
                <a:lnTo>
                  <a:pt x="1583" y="2931"/>
                </a:lnTo>
                <a:lnTo>
                  <a:pt x="2498" y="1647"/>
                </a:lnTo>
                <a:lnTo>
                  <a:pt x="2461" y="1631"/>
                </a:lnTo>
                <a:lnTo>
                  <a:pt x="2425" y="1616"/>
                </a:lnTo>
                <a:lnTo>
                  <a:pt x="2387" y="1601"/>
                </a:lnTo>
                <a:lnTo>
                  <a:pt x="2349" y="1588"/>
                </a:lnTo>
                <a:lnTo>
                  <a:pt x="2309" y="1575"/>
                </a:lnTo>
                <a:lnTo>
                  <a:pt x="2272" y="1565"/>
                </a:lnTo>
                <a:lnTo>
                  <a:pt x="2232" y="1554"/>
                </a:lnTo>
                <a:lnTo>
                  <a:pt x="2192" y="1544"/>
                </a:lnTo>
                <a:lnTo>
                  <a:pt x="2152" y="1536"/>
                </a:lnTo>
                <a:lnTo>
                  <a:pt x="2112" y="1528"/>
                </a:lnTo>
                <a:lnTo>
                  <a:pt x="2071" y="1523"/>
                </a:lnTo>
                <a:lnTo>
                  <a:pt x="2029" y="1517"/>
                </a:lnTo>
                <a:lnTo>
                  <a:pt x="1988" y="1513"/>
                </a:lnTo>
                <a:lnTo>
                  <a:pt x="1946" y="1510"/>
                </a:lnTo>
                <a:lnTo>
                  <a:pt x="1904" y="1509"/>
                </a:lnTo>
                <a:lnTo>
                  <a:pt x="1861" y="1508"/>
                </a:lnTo>
                <a:close/>
              </a:path>
            </a:pathLst>
          </a:custGeom>
          <a:solidFill>
            <a:srgbClr val="0E80A5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262" name="TextBox 261"/>
          <p:cNvSpPr txBox="1"/>
          <p:nvPr/>
        </p:nvSpPr>
        <p:spPr>
          <a:xfrm>
            <a:off x="9249392" y="3645496"/>
            <a:ext cx="2933038" cy="456465"/>
          </a:xfrm>
          <a:prstGeom prst="rect">
            <a:avLst/>
          </a:prstGeom>
          <a:noFill/>
        </p:spPr>
        <p:txBody>
          <a:bodyPr wrap="square" lIns="116770" tIns="58385" rIns="116770" bIns="58385" rtlCol="0">
            <a:spAutoFit/>
          </a:bodyPr>
          <a:lstStyle/>
          <a:p>
            <a:pPr defTabSz="995124"/>
            <a:r>
              <a:rPr lang="ru-RU" sz="1100" b="1" dirty="0">
                <a:solidFill>
                  <a:srgbClr val="0E80A5"/>
                </a:solidFill>
                <a:latin typeface="Trebuchet MS" panose="020B0603020202020204" pitchFamily="34" charset="0"/>
              </a:rPr>
              <a:t>Ранняя профилизация и профориентация обучающихся</a:t>
            </a:r>
            <a:endParaRPr lang="ru-RU" sz="1100" dirty="0">
              <a:solidFill>
                <a:srgbClr val="404040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95313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Прямоугольник 52">
            <a:extLst>
              <a:ext uri="{FF2B5EF4-FFF2-40B4-BE49-F238E27FC236}">
                <a16:creationId xmlns:a16="http://schemas.microsoft.com/office/drawing/2014/main" xmlns="" id="{B28F6D9E-A91A-48BC-B7E5-9CB6310E0A4C}"/>
              </a:ext>
            </a:extLst>
          </p:cNvPr>
          <p:cNvSpPr/>
          <p:nvPr/>
        </p:nvSpPr>
        <p:spPr>
          <a:xfrm>
            <a:off x="2644692" y="5098787"/>
            <a:ext cx="9481134" cy="581626"/>
          </a:xfrm>
          <a:prstGeom prst="rect">
            <a:avLst/>
          </a:prstGeom>
          <a:solidFill>
            <a:srgbClr val="E4F1FF">
              <a:alpha val="7098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                                                         </a:t>
            </a:r>
            <a:endParaRPr kumimoji="0" lang="ru-RU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xmlns="" id="{C9CA21B3-A91A-439F-A9CC-F93E240128B8}"/>
              </a:ext>
            </a:extLst>
          </p:cNvPr>
          <p:cNvSpPr/>
          <p:nvPr/>
        </p:nvSpPr>
        <p:spPr>
          <a:xfrm>
            <a:off x="2686454" y="3370842"/>
            <a:ext cx="9481134" cy="581626"/>
          </a:xfrm>
          <a:prstGeom prst="rect">
            <a:avLst/>
          </a:prstGeom>
          <a:solidFill>
            <a:srgbClr val="E4F1FF">
              <a:alpha val="7098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                                                         </a:t>
            </a:r>
            <a:endParaRPr kumimoji="0" lang="ru-RU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xmlns="" id="{94AB321C-6D69-4CA0-9034-D7A93D6A7AE3}"/>
              </a:ext>
            </a:extLst>
          </p:cNvPr>
          <p:cNvSpPr/>
          <p:nvPr/>
        </p:nvSpPr>
        <p:spPr>
          <a:xfrm>
            <a:off x="2710866" y="1533099"/>
            <a:ext cx="9481134" cy="581626"/>
          </a:xfrm>
          <a:prstGeom prst="rect">
            <a:avLst/>
          </a:prstGeom>
          <a:solidFill>
            <a:srgbClr val="E4F1FF">
              <a:alpha val="7098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                                                         </a:t>
            </a:r>
            <a:endParaRPr kumimoji="0" lang="ru-RU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Овал 4">
            <a:extLst>
              <a:ext uri="{FF2B5EF4-FFF2-40B4-BE49-F238E27FC236}">
                <a16:creationId xmlns:a16="http://schemas.microsoft.com/office/drawing/2014/main" xmlns="" id="{4D988395-655C-4D32-BE10-E2F9F2562A26}"/>
              </a:ext>
            </a:extLst>
          </p:cNvPr>
          <p:cNvSpPr/>
          <p:nvPr/>
        </p:nvSpPr>
        <p:spPr>
          <a:xfrm>
            <a:off x="3292355" y="1159824"/>
            <a:ext cx="5575797" cy="5544305"/>
          </a:xfrm>
          <a:prstGeom prst="ellipse">
            <a:avLst/>
          </a:prstGeom>
          <a:noFill/>
          <a:ln w="38100" cap="flat" cmpd="sng" algn="ctr">
            <a:solidFill>
              <a:srgbClr val="4472C4">
                <a:shade val="50000"/>
              </a:srgbClr>
            </a:solidFill>
            <a:prstDash val="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Овал 5">
            <a:extLst>
              <a:ext uri="{FF2B5EF4-FFF2-40B4-BE49-F238E27FC236}">
                <a16:creationId xmlns:a16="http://schemas.microsoft.com/office/drawing/2014/main" xmlns="" id="{D4FC67B7-79A4-4EC2-B27F-C6E34EC06A85}"/>
              </a:ext>
            </a:extLst>
          </p:cNvPr>
          <p:cNvSpPr/>
          <p:nvPr/>
        </p:nvSpPr>
        <p:spPr>
          <a:xfrm>
            <a:off x="4705183" y="2472487"/>
            <a:ext cx="2922684" cy="2934141"/>
          </a:xfrm>
          <a:prstGeom prst="ellipse">
            <a:avLst/>
          </a:prstGeom>
          <a:solidFill>
            <a:srgbClr val="70AD47">
              <a:lumMod val="20000"/>
              <a:lumOff val="80000"/>
            </a:srgbClr>
          </a:solidFill>
          <a:ln w="12700" cap="flat" cmpd="sng" algn="ctr">
            <a:solidFill>
              <a:srgbClr val="70AD47">
                <a:lumMod val="7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Овал 10">
            <a:extLst>
              <a:ext uri="{FF2B5EF4-FFF2-40B4-BE49-F238E27FC236}">
                <a16:creationId xmlns:a16="http://schemas.microsoft.com/office/drawing/2014/main" xmlns="" id="{2468EE35-40BF-44E0-A528-11432A91DAB3}"/>
              </a:ext>
            </a:extLst>
          </p:cNvPr>
          <p:cNvSpPr/>
          <p:nvPr/>
        </p:nvSpPr>
        <p:spPr>
          <a:xfrm>
            <a:off x="4977293" y="3188368"/>
            <a:ext cx="2386435" cy="1383632"/>
          </a:xfrm>
          <a:prstGeom prst="ellips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rgbClr val="FF0000"/>
                </a:solidFill>
              </a:rPr>
              <a:t>БЕСШОВНОЕ ОБРАЗОВАНИЕ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xmlns="" id="{1EB9560C-FD07-478A-B783-27EF6ADA8A36}"/>
              </a:ext>
            </a:extLst>
          </p:cNvPr>
          <p:cNvSpPr/>
          <p:nvPr/>
        </p:nvSpPr>
        <p:spPr>
          <a:xfrm>
            <a:off x="5257800" y="2815388"/>
            <a:ext cx="1744579" cy="276727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chemeClr val="accent1">
                    <a:lumMod val="75000"/>
                  </a:schemeClr>
                </a:solidFill>
              </a:rPr>
              <a:t>Образовательное</a:t>
            </a:r>
            <a:r>
              <a:rPr lang="ru-RU" sz="1600" dirty="0">
                <a:solidFill>
                  <a:schemeClr val="accent1">
                    <a:lumMod val="75000"/>
                  </a:schemeClr>
                </a:solidFill>
              </a:rPr>
              <a:t> 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xmlns="" id="{C2AB363D-E1A1-4FE0-9EDC-9389ABF53692}"/>
              </a:ext>
            </a:extLst>
          </p:cNvPr>
          <p:cNvSpPr/>
          <p:nvPr/>
        </p:nvSpPr>
        <p:spPr>
          <a:xfrm>
            <a:off x="5294235" y="4712586"/>
            <a:ext cx="1744579" cy="276727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chemeClr val="accent1">
                    <a:lumMod val="75000"/>
                  </a:schemeClr>
                </a:solidFill>
              </a:rPr>
              <a:t>пространство</a:t>
            </a:r>
            <a:r>
              <a:rPr lang="ru-RU" sz="1600" dirty="0">
                <a:solidFill>
                  <a:schemeClr val="accent1">
                    <a:lumMod val="75000"/>
                  </a:schemeClr>
                </a:solidFill>
              </a:rPr>
              <a:t> </a:t>
            </a:r>
          </a:p>
        </p:txBody>
      </p:sp>
      <p:sp>
        <p:nvSpPr>
          <p:cNvPr id="17" name="Стрелка вниз 56">
            <a:extLst>
              <a:ext uri="{FF2B5EF4-FFF2-40B4-BE49-F238E27FC236}">
                <a16:creationId xmlns:a16="http://schemas.microsoft.com/office/drawing/2014/main" xmlns="" id="{FCE6F8DA-13A5-4463-8318-8FDD69148163}"/>
              </a:ext>
            </a:extLst>
          </p:cNvPr>
          <p:cNvSpPr/>
          <p:nvPr/>
        </p:nvSpPr>
        <p:spPr>
          <a:xfrm rot="20141314">
            <a:off x="4683950" y="1689881"/>
            <a:ext cx="573659" cy="794268"/>
          </a:xfrm>
          <a:prstGeom prst="downArrow">
            <a:avLst/>
          </a:prstGeom>
          <a:solidFill>
            <a:srgbClr val="FFC000">
              <a:lumMod val="40000"/>
              <a:lumOff val="60000"/>
            </a:srgbClr>
          </a:solidFill>
          <a:ln w="12700" cap="flat" cmpd="sng" algn="ctr">
            <a:solidFill>
              <a:srgbClr val="FFC000">
                <a:lumMod val="60000"/>
                <a:lumOff val="4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Стрелка вниз 50">
            <a:extLst>
              <a:ext uri="{FF2B5EF4-FFF2-40B4-BE49-F238E27FC236}">
                <a16:creationId xmlns:a16="http://schemas.microsoft.com/office/drawing/2014/main" xmlns="" id="{6B02A60F-5B51-4A8B-BF43-04F6D06C65B7}"/>
              </a:ext>
            </a:extLst>
          </p:cNvPr>
          <p:cNvSpPr/>
          <p:nvPr/>
        </p:nvSpPr>
        <p:spPr>
          <a:xfrm rot="763830">
            <a:off x="6436173" y="1446804"/>
            <a:ext cx="573659" cy="794268"/>
          </a:xfrm>
          <a:prstGeom prst="downArrow">
            <a:avLst/>
          </a:prstGeom>
          <a:solidFill>
            <a:srgbClr val="FFC000">
              <a:lumMod val="40000"/>
              <a:lumOff val="60000"/>
            </a:srgbClr>
          </a:solidFill>
          <a:ln w="12700" cap="flat" cmpd="sng" algn="ctr">
            <a:solidFill>
              <a:srgbClr val="FFC000">
                <a:lumMod val="60000"/>
                <a:lumOff val="4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57EA8270-1411-426C-A89A-44F9D1D10209}"/>
              </a:ext>
            </a:extLst>
          </p:cNvPr>
          <p:cNvSpPr txBox="1"/>
          <p:nvPr/>
        </p:nvSpPr>
        <p:spPr>
          <a:xfrm>
            <a:off x="3301328" y="2112137"/>
            <a:ext cx="1335558" cy="646331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threePt" dir="t"/>
            </a:scene3d>
            <a:sp3d extrusionH="57150">
              <a:bevelT w="38100" h="38100" prst="angle"/>
            </a:sp3d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Подготовка</a:t>
            </a:r>
          </a:p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кадров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3C31F93E-58A3-45EC-924B-7A5C931F8E68}"/>
              </a:ext>
            </a:extLst>
          </p:cNvPr>
          <p:cNvSpPr txBox="1"/>
          <p:nvPr/>
        </p:nvSpPr>
        <p:spPr>
          <a:xfrm>
            <a:off x="7182146" y="1921837"/>
            <a:ext cx="1736373" cy="646331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threePt" dir="t"/>
            </a:scene3d>
            <a:sp3d extrusionH="57150">
              <a:bevelT w="38100" h="38100" prst="angle"/>
            </a:sp3d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Формирование</a:t>
            </a:r>
          </a:p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среды</a:t>
            </a:r>
          </a:p>
        </p:txBody>
      </p:sp>
      <p:sp>
        <p:nvSpPr>
          <p:cNvPr id="24" name="Стрелка вниз 57">
            <a:extLst>
              <a:ext uri="{FF2B5EF4-FFF2-40B4-BE49-F238E27FC236}">
                <a16:creationId xmlns:a16="http://schemas.microsoft.com/office/drawing/2014/main" xmlns="" id="{58CB7434-F8CD-4CF7-9242-38E32B4DB5F8}"/>
              </a:ext>
            </a:extLst>
          </p:cNvPr>
          <p:cNvSpPr/>
          <p:nvPr/>
        </p:nvSpPr>
        <p:spPr>
          <a:xfrm rot="15189345">
            <a:off x="3711939" y="3944563"/>
            <a:ext cx="573659" cy="794268"/>
          </a:xfrm>
          <a:prstGeom prst="downArrow">
            <a:avLst/>
          </a:prstGeom>
          <a:solidFill>
            <a:srgbClr val="FFC000">
              <a:lumMod val="40000"/>
              <a:lumOff val="60000"/>
            </a:srgbClr>
          </a:solidFill>
          <a:ln w="12700" cap="flat" cmpd="sng" algn="ctr">
            <a:solidFill>
              <a:srgbClr val="FFC000">
                <a:lumMod val="60000"/>
                <a:lumOff val="4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Стрелка вниз 54">
            <a:extLst>
              <a:ext uri="{FF2B5EF4-FFF2-40B4-BE49-F238E27FC236}">
                <a16:creationId xmlns:a16="http://schemas.microsoft.com/office/drawing/2014/main" xmlns="" id="{9DC5C2D4-11BE-4E21-9AB5-5E08FA664AB4}"/>
              </a:ext>
            </a:extLst>
          </p:cNvPr>
          <p:cNvSpPr/>
          <p:nvPr/>
        </p:nvSpPr>
        <p:spPr>
          <a:xfrm rot="13253855">
            <a:off x="4418353" y="5163890"/>
            <a:ext cx="573659" cy="794268"/>
          </a:xfrm>
          <a:prstGeom prst="downArrow">
            <a:avLst/>
          </a:prstGeom>
          <a:solidFill>
            <a:srgbClr val="FFC000">
              <a:lumMod val="40000"/>
              <a:lumOff val="60000"/>
            </a:srgbClr>
          </a:solidFill>
          <a:ln w="12700" cap="flat" cmpd="sng" algn="ctr">
            <a:solidFill>
              <a:srgbClr val="FFC000">
                <a:lumMod val="60000"/>
                <a:lumOff val="4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16ED52C2-81C5-4ED6-B397-C01F5947AAC6}"/>
              </a:ext>
            </a:extLst>
          </p:cNvPr>
          <p:cNvSpPr txBox="1"/>
          <p:nvPr/>
        </p:nvSpPr>
        <p:spPr>
          <a:xfrm>
            <a:off x="5044085" y="5528875"/>
            <a:ext cx="1576072" cy="646331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threePt" dir="t"/>
            </a:scene3d>
            <a:sp3d extrusionH="57150">
              <a:bevelT w="38100" h="38100" prst="angle"/>
            </a:sp3d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Непрерывное</a:t>
            </a:r>
          </a:p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образование</a:t>
            </a:r>
          </a:p>
        </p:txBody>
      </p:sp>
      <p:sp>
        <p:nvSpPr>
          <p:cNvPr id="28" name="Стрелка вниз 51">
            <a:extLst>
              <a:ext uri="{FF2B5EF4-FFF2-40B4-BE49-F238E27FC236}">
                <a16:creationId xmlns:a16="http://schemas.microsoft.com/office/drawing/2014/main" xmlns="" id="{CE53328A-D07D-45C5-A483-BDC38BD62B34}"/>
              </a:ext>
            </a:extLst>
          </p:cNvPr>
          <p:cNvSpPr/>
          <p:nvPr/>
        </p:nvSpPr>
        <p:spPr>
          <a:xfrm rot="7811733">
            <a:off x="7206366" y="4931560"/>
            <a:ext cx="573659" cy="794268"/>
          </a:xfrm>
          <a:prstGeom prst="downArrow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562772A0-0B6E-498E-83B0-F0CE37B35746}"/>
              </a:ext>
            </a:extLst>
          </p:cNvPr>
          <p:cNvSpPr txBox="1"/>
          <p:nvPr/>
        </p:nvSpPr>
        <p:spPr>
          <a:xfrm>
            <a:off x="7780750" y="4389420"/>
            <a:ext cx="1259945" cy="646331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threePt" dir="t"/>
            </a:scene3d>
            <a:sp3d extrusionH="57150">
              <a:bevelT w="38100" h="38100" prst="angle"/>
            </a:sp3d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Ресурсная</a:t>
            </a:r>
          </a:p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площадка</a:t>
            </a:r>
          </a:p>
        </p:txBody>
      </p:sp>
      <p:sp>
        <p:nvSpPr>
          <p:cNvPr id="30" name="Стрелка вниз 138">
            <a:extLst>
              <a:ext uri="{FF2B5EF4-FFF2-40B4-BE49-F238E27FC236}">
                <a16:creationId xmlns:a16="http://schemas.microsoft.com/office/drawing/2014/main" xmlns="" id="{B1679C41-6864-4415-A807-441EED95CFAB}"/>
              </a:ext>
            </a:extLst>
          </p:cNvPr>
          <p:cNvSpPr/>
          <p:nvPr/>
        </p:nvSpPr>
        <p:spPr>
          <a:xfrm rot="5107715">
            <a:off x="7894605" y="3497927"/>
            <a:ext cx="573659" cy="794268"/>
          </a:xfrm>
          <a:prstGeom prst="downArrow">
            <a:avLst/>
          </a:prstGeom>
          <a:solidFill>
            <a:srgbClr val="FFC000">
              <a:lumMod val="40000"/>
              <a:lumOff val="60000"/>
            </a:srgbClr>
          </a:solidFill>
          <a:ln w="12700" cap="flat" cmpd="sng" algn="ctr">
            <a:solidFill>
              <a:srgbClr val="FFC000">
                <a:lumMod val="60000"/>
                <a:lumOff val="4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6E04742A-BD64-46DE-9415-A0C6BAA5960A}"/>
              </a:ext>
            </a:extLst>
          </p:cNvPr>
          <p:cNvSpPr txBox="1"/>
          <p:nvPr/>
        </p:nvSpPr>
        <p:spPr>
          <a:xfrm>
            <a:off x="7546378" y="2887189"/>
            <a:ext cx="1874391" cy="369332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threePt" dir="t"/>
            </a:scene3d>
            <a:sp3d extrusionH="57150">
              <a:bevelT w="38100" h="38100" prst="angle"/>
            </a:sp3d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1" kern="0" dirty="0">
                <a:solidFill>
                  <a:prstClr val="black"/>
                </a:solidFill>
              </a:rPr>
              <a:t>Внедрение ИОМ</a:t>
            </a:r>
            <a:endParaRPr kumimoji="0" lang="ru-RU" sz="1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cxnSp>
        <p:nvCxnSpPr>
          <p:cNvPr id="36" name="Прямая соединительная линия 35">
            <a:extLst>
              <a:ext uri="{FF2B5EF4-FFF2-40B4-BE49-F238E27FC236}">
                <a16:creationId xmlns:a16="http://schemas.microsoft.com/office/drawing/2014/main" xmlns="" id="{82F4777E-001E-449D-A7ED-0C825852D4D9}"/>
              </a:ext>
            </a:extLst>
          </p:cNvPr>
          <p:cNvCxnSpPr/>
          <p:nvPr/>
        </p:nvCxnSpPr>
        <p:spPr>
          <a:xfrm flipV="1">
            <a:off x="2843213" y="1533051"/>
            <a:ext cx="9348787" cy="820"/>
          </a:xfrm>
          <a:prstGeom prst="line">
            <a:avLst/>
          </a:prstGeom>
          <a:noFill/>
          <a:ln w="28575" cap="flat" cmpd="sng" algn="ctr">
            <a:solidFill>
              <a:srgbClr val="5B9BD5">
                <a:lumMod val="40000"/>
                <a:lumOff val="60000"/>
              </a:srgbClr>
            </a:solidFill>
            <a:prstDash val="dash"/>
            <a:miter lim="800000"/>
          </a:ln>
          <a:effectLst/>
        </p:spPr>
      </p:cxnSp>
      <p:cxnSp>
        <p:nvCxnSpPr>
          <p:cNvPr id="41" name="Прямая соединительная линия 40">
            <a:extLst>
              <a:ext uri="{FF2B5EF4-FFF2-40B4-BE49-F238E27FC236}">
                <a16:creationId xmlns:a16="http://schemas.microsoft.com/office/drawing/2014/main" xmlns="" id="{5D100153-2C8C-4003-BE3D-E5DB10848BB9}"/>
              </a:ext>
            </a:extLst>
          </p:cNvPr>
          <p:cNvCxnSpPr>
            <a:cxnSpLocks/>
          </p:cNvCxnSpPr>
          <p:nvPr/>
        </p:nvCxnSpPr>
        <p:spPr>
          <a:xfrm>
            <a:off x="2843213" y="2336539"/>
            <a:ext cx="9348787" cy="20672"/>
          </a:xfrm>
          <a:prstGeom prst="line">
            <a:avLst/>
          </a:prstGeom>
          <a:noFill/>
          <a:ln w="28575" cap="flat" cmpd="sng" algn="ctr">
            <a:solidFill>
              <a:srgbClr val="5B9BD5">
                <a:lumMod val="40000"/>
                <a:lumOff val="60000"/>
              </a:srgbClr>
            </a:solidFill>
            <a:prstDash val="dash"/>
            <a:miter lim="800000"/>
          </a:ln>
          <a:effectLst/>
        </p:spPr>
      </p:cxnSp>
      <p:cxnSp>
        <p:nvCxnSpPr>
          <p:cNvPr id="46" name="Прямая соединительная линия 45">
            <a:extLst>
              <a:ext uri="{FF2B5EF4-FFF2-40B4-BE49-F238E27FC236}">
                <a16:creationId xmlns:a16="http://schemas.microsoft.com/office/drawing/2014/main" xmlns="" id="{3B0D930B-2114-43D4-8CDA-9655B39BFCCF}"/>
              </a:ext>
            </a:extLst>
          </p:cNvPr>
          <p:cNvCxnSpPr>
            <a:cxnSpLocks/>
          </p:cNvCxnSpPr>
          <p:nvPr/>
        </p:nvCxnSpPr>
        <p:spPr>
          <a:xfrm>
            <a:off x="2587809" y="4247819"/>
            <a:ext cx="9501187" cy="144558"/>
          </a:xfrm>
          <a:prstGeom prst="line">
            <a:avLst/>
          </a:prstGeom>
          <a:noFill/>
          <a:ln w="28575" cap="flat" cmpd="sng" algn="ctr">
            <a:solidFill>
              <a:srgbClr val="5B9BD5">
                <a:lumMod val="40000"/>
                <a:lumOff val="60000"/>
              </a:srgbClr>
            </a:solidFill>
            <a:prstDash val="dash"/>
            <a:miter lim="800000"/>
          </a:ln>
          <a:effectLst/>
        </p:spPr>
      </p:cxnSp>
      <p:cxnSp>
        <p:nvCxnSpPr>
          <p:cNvPr id="44" name="Прямая соединительная линия 43">
            <a:extLst>
              <a:ext uri="{FF2B5EF4-FFF2-40B4-BE49-F238E27FC236}">
                <a16:creationId xmlns:a16="http://schemas.microsoft.com/office/drawing/2014/main" xmlns="" id="{F09B0CEF-FE32-477A-93F3-EBAEFF037700}"/>
              </a:ext>
            </a:extLst>
          </p:cNvPr>
          <p:cNvCxnSpPr>
            <a:cxnSpLocks/>
          </p:cNvCxnSpPr>
          <p:nvPr/>
        </p:nvCxnSpPr>
        <p:spPr>
          <a:xfrm>
            <a:off x="2607863" y="3323811"/>
            <a:ext cx="9501187" cy="1674"/>
          </a:xfrm>
          <a:prstGeom prst="line">
            <a:avLst/>
          </a:prstGeom>
          <a:noFill/>
          <a:ln w="28575" cap="flat" cmpd="sng" algn="ctr">
            <a:solidFill>
              <a:srgbClr val="5B9BD5">
                <a:lumMod val="40000"/>
                <a:lumOff val="60000"/>
              </a:srgbClr>
            </a:solidFill>
            <a:prstDash val="dash"/>
            <a:miter lim="800000"/>
          </a:ln>
          <a:effectLst/>
        </p:spPr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6F965E7C-3DBB-4D2C-9815-C4A094DC762D}"/>
              </a:ext>
            </a:extLst>
          </p:cNvPr>
          <p:cNvSpPr txBox="1"/>
          <p:nvPr/>
        </p:nvSpPr>
        <p:spPr>
          <a:xfrm>
            <a:off x="2587810" y="3400840"/>
            <a:ext cx="1883272" cy="646331"/>
          </a:xfrm>
          <a:prstGeom prst="rect">
            <a:avLst/>
          </a:prstGeom>
          <a:noFill/>
          <a:ln w="19050">
            <a:noFill/>
          </a:ln>
        </p:spPr>
        <p:txBody>
          <a:bodyPr wrap="none" rtlCol="0">
            <a:spAutoFit/>
            <a:scene3d>
              <a:camera prst="orthographicFront"/>
              <a:lightRig rig="threePt" dir="t"/>
            </a:scene3d>
            <a:sp3d extrusionH="57150">
              <a:bevelT w="38100" h="38100" prst="angle"/>
            </a:sp3d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Дополнительное</a:t>
            </a:r>
          </a:p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образование</a:t>
            </a:r>
          </a:p>
        </p:txBody>
      </p:sp>
      <p:cxnSp>
        <p:nvCxnSpPr>
          <p:cNvPr id="50" name="Прямая соединительная линия 49">
            <a:extLst>
              <a:ext uri="{FF2B5EF4-FFF2-40B4-BE49-F238E27FC236}">
                <a16:creationId xmlns:a16="http://schemas.microsoft.com/office/drawing/2014/main" xmlns="" id="{047DF371-13FE-4DB3-8E5B-9D89151F6080}"/>
              </a:ext>
            </a:extLst>
          </p:cNvPr>
          <p:cNvCxnSpPr/>
          <p:nvPr/>
        </p:nvCxnSpPr>
        <p:spPr>
          <a:xfrm flipV="1">
            <a:off x="2777039" y="6238242"/>
            <a:ext cx="9348787" cy="820"/>
          </a:xfrm>
          <a:prstGeom prst="line">
            <a:avLst/>
          </a:prstGeom>
          <a:noFill/>
          <a:ln w="28575" cap="flat" cmpd="sng" algn="ctr">
            <a:solidFill>
              <a:srgbClr val="5B9BD5">
                <a:lumMod val="40000"/>
                <a:lumOff val="60000"/>
              </a:srgbClr>
            </a:solidFill>
            <a:prstDash val="dash"/>
            <a:miter lim="800000"/>
          </a:ln>
          <a:effectLst/>
        </p:spPr>
      </p:cxnSp>
      <p:cxnSp>
        <p:nvCxnSpPr>
          <p:cNvPr id="51" name="Прямая соединительная линия 50">
            <a:extLst>
              <a:ext uri="{FF2B5EF4-FFF2-40B4-BE49-F238E27FC236}">
                <a16:creationId xmlns:a16="http://schemas.microsoft.com/office/drawing/2014/main" xmlns="" id="{8D6DA911-1E58-4684-A9FA-B91FBA8B1D86}"/>
              </a:ext>
            </a:extLst>
          </p:cNvPr>
          <p:cNvCxnSpPr>
            <a:cxnSpLocks/>
          </p:cNvCxnSpPr>
          <p:nvPr/>
        </p:nvCxnSpPr>
        <p:spPr>
          <a:xfrm>
            <a:off x="2777040" y="5073048"/>
            <a:ext cx="9348786" cy="0"/>
          </a:xfrm>
          <a:prstGeom prst="line">
            <a:avLst/>
          </a:prstGeom>
          <a:noFill/>
          <a:ln w="28575" cap="flat" cmpd="sng" algn="ctr">
            <a:solidFill>
              <a:srgbClr val="5B9BD5">
                <a:lumMod val="40000"/>
                <a:lumOff val="60000"/>
              </a:srgbClr>
            </a:solidFill>
            <a:prstDash val="dash"/>
            <a:miter lim="800000"/>
          </a:ln>
          <a:effectLst/>
        </p:spPr>
      </p:cxnSp>
      <p:sp>
        <p:nvSpPr>
          <p:cNvPr id="54" name="TextBox 53">
            <a:extLst>
              <a:ext uri="{FF2B5EF4-FFF2-40B4-BE49-F238E27FC236}">
                <a16:creationId xmlns:a16="http://schemas.microsoft.com/office/drawing/2014/main" xmlns="" id="{F585B9E4-88AC-4146-A027-E1C7EFB116D8}"/>
              </a:ext>
            </a:extLst>
          </p:cNvPr>
          <p:cNvSpPr txBox="1"/>
          <p:nvPr/>
        </p:nvSpPr>
        <p:spPr>
          <a:xfrm rot="16200000">
            <a:off x="7430989" y="3367861"/>
            <a:ext cx="40697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>
                <a:ln w="0"/>
                <a:solidFill>
                  <a:schemeClr val="accent2">
                    <a:lumMod val="7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</a:rPr>
              <a:t>У Ч А С Т Н И К И      П Р О Е К Т А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xmlns="" id="{FA8BCC0E-52EB-4F27-A7FD-8DFD7DDAC584}"/>
              </a:ext>
            </a:extLst>
          </p:cNvPr>
          <p:cNvSpPr txBox="1"/>
          <p:nvPr/>
        </p:nvSpPr>
        <p:spPr>
          <a:xfrm>
            <a:off x="9762987" y="1378612"/>
            <a:ext cx="2070940" cy="4827604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2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1" kern="0" dirty="0">
                <a:solidFill>
                  <a:schemeClr val="accent2">
                    <a:lumMod val="75000"/>
                  </a:schemeClr>
                </a:solidFill>
              </a:rPr>
              <a:t>ДОО</a:t>
            </a:r>
            <a:endParaRPr kumimoji="0" lang="ru-RU" b="1" i="0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</a:endParaRPr>
          </a:p>
          <a:p>
            <a:pPr marL="0" marR="0" lvl="0" indent="0" algn="ctr" defTabSz="457200" eaLnBrk="1" fontAlgn="auto" latinLnBrk="0" hangingPunct="1">
              <a:lnSpc>
                <a:spcPct val="2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</a:rPr>
              <a:t>ОО</a:t>
            </a:r>
          </a:p>
          <a:p>
            <a:pPr marL="0" marR="0" lvl="0" indent="0" algn="ctr" defTabSz="457200" eaLnBrk="1" fontAlgn="auto" latinLnBrk="0" hangingPunct="1">
              <a:lnSpc>
                <a:spcPct val="2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</a:rPr>
              <a:t>ПОО</a:t>
            </a:r>
          </a:p>
          <a:p>
            <a:pPr marL="0" marR="0" lvl="0" indent="0" algn="ctr" defTabSz="457200" eaLnBrk="1" fontAlgn="auto" latinLnBrk="0" hangingPunct="1">
              <a:lnSpc>
                <a:spcPct val="2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1" kern="0" dirty="0">
                <a:solidFill>
                  <a:schemeClr val="accent2">
                    <a:lumMod val="75000"/>
                  </a:schemeClr>
                </a:solidFill>
              </a:rPr>
              <a:t>ВПО</a:t>
            </a:r>
            <a:endParaRPr kumimoji="0" lang="ru-RU" b="1" i="0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</a:endParaRPr>
          </a:p>
          <a:p>
            <a:pPr marL="0" marR="0" lvl="0" indent="0" algn="ctr" defTabSz="457200" eaLnBrk="1" fontAlgn="auto" latinLnBrk="0" hangingPunct="1">
              <a:lnSpc>
                <a:spcPct val="2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0" cap="none" spc="0" normalizeH="0" baseline="0" noProof="0" dirty="0" err="1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</a:rPr>
              <a:t>Кванториум</a:t>
            </a:r>
            <a:endParaRPr kumimoji="0" lang="ru-RU" b="1" i="0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</a:endParaRPr>
          </a:p>
          <a:p>
            <a:pPr marL="0" marR="0" lvl="0" indent="0" algn="ctr" defTabSz="457200" eaLnBrk="1" fontAlgn="auto" latinLnBrk="0" hangingPunct="1">
              <a:lnSpc>
                <a:spcPct val="2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1" kern="0" dirty="0">
                <a:solidFill>
                  <a:schemeClr val="accent2">
                    <a:lumMod val="75000"/>
                  </a:schemeClr>
                </a:solidFill>
              </a:rPr>
              <a:t>СИБУРИНТЕХ</a:t>
            </a:r>
          </a:p>
          <a:p>
            <a:pPr marL="0" marR="0" lvl="0" indent="0" algn="ctr" defTabSz="457200" eaLnBrk="1" fontAlgn="auto" latinLnBrk="0" hangingPunct="1">
              <a:lnSpc>
                <a:spcPct val="2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1" kern="0" dirty="0" err="1">
                <a:solidFill>
                  <a:schemeClr val="accent2">
                    <a:lumMod val="75000"/>
                  </a:schemeClr>
                </a:solidFill>
              </a:rPr>
              <a:t>ЗабСибНефтехим</a:t>
            </a:r>
            <a:endParaRPr kumimoji="0" lang="ru-RU" b="1" i="0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xmlns="" id="{B93ECA0F-AD6B-4BE8-8BA3-17D8C9C236B1}"/>
              </a:ext>
            </a:extLst>
          </p:cNvPr>
          <p:cNvSpPr txBox="1"/>
          <p:nvPr/>
        </p:nvSpPr>
        <p:spPr>
          <a:xfrm>
            <a:off x="555322" y="391348"/>
            <a:ext cx="1859805" cy="69865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r>
              <a:rPr lang="ru-RU" sz="44800" dirty="0">
                <a:solidFill>
                  <a:schemeClr val="accent2">
                    <a:lumMod val="60000"/>
                    <a:lumOff val="40000"/>
                  </a:schemeClr>
                </a:solidFill>
                <a:latin typeface="Abadi MT Condensed Extra Bold" charset="0"/>
                <a:ea typeface="Abadi MT Condensed Extra Bold" charset="0"/>
                <a:cs typeface="Abadi MT Condensed Extra Bold" charset="0"/>
              </a:rPr>
              <a:t>!</a:t>
            </a:r>
          </a:p>
        </p:txBody>
      </p: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xmlns="" id="{951B56EF-EEF2-4A2C-BE72-34CF6EA2A5A6}"/>
              </a:ext>
            </a:extLst>
          </p:cNvPr>
          <p:cNvSpPr/>
          <p:nvPr/>
        </p:nvSpPr>
        <p:spPr>
          <a:xfrm>
            <a:off x="167987" y="2183806"/>
            <a:ext cx="2678940" cy="142962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008B94"/>
                </a:solidFill>
                <a:effectLst/>
                <a:uLnTx/>
                <a:uFillTx/>
              </a:rPr>
              <a:t>ИНДИВИДУАЛЬНОСТЬ</a:t>
            </a:r>
          </a:p>
          <a:p>
            <a:pPr marL="0" marR="0" lvl="0" indent="0" algn="ctr" defTabSz="4572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kern="0" dirty="0">
                <a:solidFill>
                  <a:srgbClr val="008B94"/>
                </a:solidFill>
              </a:rPr>
              <a:t>КАЧЕСТВО</a:t>
            </a:r>
          </a:p>
          <a:p>
            <a:pPr marL="0" marR="0" lvl="0" indent="0" algn="ctr" defTabSz="4572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008B94"/>
                </a:solidFill>
                <a:effectLst/>
                <a:uLnTx/>
                <a:uFillTx/>
              </a:rPr>
              <a:t>УСПЕШНОСТЬ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99F148ED-7404-4F99-B274-4E5542A4CCDE}"/>
              </a:ext>
            </a:extLst>
          </p:cNvPr>
          <p:cNvSpPr txBox="1"/>
          <p:nvPr/>
        </p:nvSpPr>
        <p:spPr>
          <a:xfrm>
            <a:off x="781572" y="310084"/>
            <a:ext cx="1062885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>
                <a:solidFill>
                  <a:srgbClr val="0E80A5"/>
                </a:solidFill>
                <a:latin typeface="Trebuchet MS" panose="020B0603020202020204" pitchFamily="34" charset="0"/>
              </a:rPr>
              <a:t>РЕАЛИЗАЦИЯ ПРОЕКТА </a:t>
            </a:r>
            <a:endParaRPr lang="ru-RU" sz="2800" b="1" dirty="0">
              <a:solidFill>
                <a:srgbClr val="0E80A5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41889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17462" y="95250"/>
            <a:ext cx="847843" cy="581106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334109" y="333643"/>
            <a:ext cx="86327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rgbClr val="0E80A5"/>
                </a:solidFill>
                <a:latin typeface="Trebuchet MS" panose="020B0603020202020204" pitchFamily="34" charset="0"/>
              </a:rPr>
              <a:t>МОДЕЛЬ ОБРАЗОВАТЕЛЬНОЙ (ПРОФОРИЕНТАЦИОННОЙ) ТРАЕКТОРИИ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0797058" y="6550223"/>
            <a:ext cx="13682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400" dirty="0">
                <a:solidFill>
                  <a:srgbClr val="0E80A5"/>
                </a:solidFill>
                <a:latin typeface="Trebuchet MS" panose="020B0603020202020204" pitchFamily="34" charset="0"/>
              </a:rPr>
              <a:t>4</a:t>
            </a:r>
          </a:p>
        </p:txBody>
      </p:sp>
      <p:pic>
        <p:nvPicPr>
          <p:cNvPr id="41" name="Picture 4" descr="https://upload.wikimedia.org/wikipedia/ru/f/f0/Sibur_logo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16314" y="127555"/>
            <a:ext cx="1401148" cy="4685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6" name="Рисунок 22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1654" y="95856"/>
            <a:ext cx="694660" cy="664192"/>
          </a:xfrm>
          <a:prstGeom prst="rect">
            <a:avLst/>
          </a:prstGeom>
        </p:spPr>
      </p:pic>
      <p:graphicFrame>
        <p:nvGraphicFramePr>
          <p:cNvPr id="153" name="Схема 152"/>
          <p:cNvGraphicFramePr/>
          <p:nvPr>
            <p:extLst>
              <p:ext uri="{D42A27DB-BD31-4B8C-83A1-F6EECF244321}">
                <p14:modId xmlns:p14="http://schemas.microsoft.com/office/powerpoint/2010/main" val="985067186"/>
              </p:ext>
            </p:extLst>
          </p:nvPr>
        </p:nvGraphicFramePr>
        <p:xfrm>
          <a:off x="548640" y="1051560"/>
          <a:ext cx="10768822" cy="5532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12003075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" descr="D:\Дизайн ТМТ\Темно-синяя Коворкинг Простая Презентация-02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-1"/>
            <a:ext cx="12310281" cy="6923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0587" y="5400636"/>
            <a:ext cx="2736528" cy="958068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5558680" y="2711642"/>
            <a:ext cx="601979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b="1" dirty="0">
                <a:solidFill>
                  <a:srgbClr val="0E80A5"/>
                </a:solidFill>
                <a:latin typeface="Trebuchet MS" panose="020B0603020202020204" pitchFamily="34" charset="0"/>
              </a:rPr>
              <a:t>Станислав Поляков</a:t>
            </a:r>
          </a:p>
          <a:p>
            <a:pPr algn="r"/>
            <a:r>
              <a:rPr lang="en-US" b="1" dirty="0">
                <a:solidFill>
                  <a:srgbClr val="0E80A5"/>
                </a:solidFill>
                <a:latin typeface="Trebuchet MS" panose="020B0603020202020204" pitchFamily="34" charset="0"/>
              </a:rPr>
              <a:t>polyakov@tmt72.ru</a:t>
            </a:r>
            <a:endParaRPr lang="ru-RU" b="1" dirty="0">
              <a:solidFill>
                <a:srgbClr val="0E80A5"/>
              </a:solidFill>
              <a:latin typeface="Trebuchet MS" panose="020B0603020202020204" pitchFamily="34" charset="0"/>
            </a:endParaRPr>
          </a:p>
          <a:p>
            <a:endParaRPr lang="ru-RU" b="1" dirty="0">
              <a:latin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205383" y="1365599"/>
            <a:ext cx="18173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chemeClr val="bg1"/>
                </a:solidFill>
                <a:latin typeface="Trebuchet MS" panose="020B0603020202020204" pitchFamily="34" charset="0"/>
              </a:rPr>
              <a:t>Инновации и умный результат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205383" y="1957891"/>
            <a:ext cx="191734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chemeClr val="bg1"/>
                </a:solidFill>
                <a:latin typeface="Trebuchet MS" panose="020B0603020202020204" pitchFamily="34" charset="0"/>
              </a:rPr>
              <a:t>Сотрудничество и диалог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205383" y="2582253"/>
            <a:ext cx="21047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chemeClr val="bg1"/>
                </a:solidFill>
                <a:latin typeface="Trebuchet MS" panose="020B0603020202020204" pitchFamily="34" charset="0"/>
              </a:rPr>
              <a:t>Инициативность и готовность к развитию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638931" y="1368073"/>
            <a:ext cx="18173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chemeClr val="bg1"/>
                </a:solidFill>
                <a:latin typeface="Trebuchet MS" panose="020B0603020202020204" pitchFamily="34" charset="0"/>
              </a:rPr>
              <a:t>Креативность и открытость 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3638931" y="1944008"/>
            <a:ext cx="18173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chemeClr val="bg1"/>
                </a:solidFill>
                <a:latin typeface="Trebuchet MS" panose="020B0603020202020204" pitchFamily="34" charset="0"/>
              </a:rPr>
              <a:t>Социальная активность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638931" y="2582253"/>
            <a:ext cx="18173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chemeClr val="bg1"/>
                </a:solidFill>
                <a:latin typeface="Trebuchet MS" panose="020B0603020202020204" pitchFamily="34" charset="0"/>
              </a:rPr>
              <a:t>Информационная грамотность 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1205383" y="530942"/>
            <a:ext cx="37058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Trebuchet MS" panose="020B0603020202020204" pitchFamily="34" charset="0"/>
              </a:rPr>
              <a:t>НАШИ ЦЕННОСТИ </a:t>
            </a:r>
          </a:p>
        </p:txBody>
      </p:sp>
      <p:grpSp>
        <p:nvGrpSpPr>
          <p:cNvPr id="13" name="Группа 12"/>
          <p:cNvGrpSpPr/>
          <p:nvPr/>
        </p:nvGrpSpPr>
        <p:grpSpPr>
          <a:xfrm>
            <a:off x="7179710" y="3951390"/>
            <a:ext cx="4450864" cy="1499530"/>
            <a:chOff x="7015822" y="2349375"/>
            <a:chExt cx="4450864" cy="1499530"/>
          </a:xfrm>
        </p:grpSpPr>
        <p:pic>
          <p:nvPicPr>
            <p:cNvPr id="1026" name="Picture 2" descr="http://qrcoder.ru/code/?https%3A%2F%2Ftmt72.ru%2F&amp;4&amp;0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15822" y="2761346"/>
              <a:ext cx="1087545" cy="10875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http://qrcoder.ru/code/?https%3A%2F%2Fvk.com%2Ftmts72&amp;4&amp;0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55798" y="2763052"/>
              <a:ext cx="1085851" cy="10858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" name="Рисунок 1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40608" y="2792908"/>
              <a:ext cx="1019069" cy="1019069"/>
            </a:xfrm>
            <a:prstGeom prst="rect">
              <a:avLst/>
            </a:prstGeom>
          </p:spPr>
        </p:pic>
        <p:pic>
          <p:nvPicPr>
            <p:cNvPr id="3" name="Рисунок 2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46082" y="2795194"/>
              <a:ext cx="1016784" cy="1016784"/>
            </a:xfrm>
            <a:prstGeom prst="rect">
              <a:avLst/>
            </a:prstGeom>
          </p:spPr>
        </p:pic>
        <p:pic>
          <p:nvPicPr>
            <p:cNvPr id="2051" name="Picture 3" descr="D:\Дизайн ТМТ\p1_2643527_c26f3867.png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52228" y="2349375"/>
              <a:ext cx="523429" cy="5234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2" name="Picture 4" descr="C:\Users\Препод\Downloads\1024px-Font_Awesome_5_brands_vk.svg.png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70188" y="2371542"/>
              <a:ext cx="601768" cy="5347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3" name="Picture 5" descr="C:\Users\Препод\Downloads\unnamed.jpg"/>
            <p:cNvPicPr>
              <a:picLocks noChangeAspect="1" noChangeArrowheads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5319" b="26055"/>
            <a:stretch/>
          </p:blipFill>
          <p:spPr bwMode="auto">
            <a:xfrm>
              <a:off x="10433597" y="2380168"/>
              <a:ext cx="1033089" cy="5023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4" name="Picture 6" descr="D:\Дизайн ТМТ\ЛОГО ТМТ ЧБ.png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79233" y="2380168"/>
              <a:ext cx="346837" cy="4361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6644060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onversation*people*talk*conference*discussion*tell*speak*exchang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ove*flying*peace*bird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javelin*sports*olympic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358</TotalTime>
  <Words>534</Words>
  <Application>Microsoft Office PowerPoint</Application>
  <PresentationFormat>Широкоэкранный</PresentationFormat>
  <Paragraphs>145</Paragraphs>
  <Slides>7</Slides>
  <Notes>5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14" baseType="lpstr">
      <vt:lpstr>Abadi MT Condensed Extra Bold</vt:lpstr>
      <vt:lpstr>Arial</vt:lpstr>
      <vt:lpstr>Calibri</vt:lpstr>
      <vt:lpstr>Calibri Light</vt:lpstr>
      <vt:lpstr>Market Fresh Bold</vt:lpstr>
      <vt:lpstr>Trebuchet MS</vt:lpstr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Уникальность проекта</dc:title>
  <dc:creator>Пользователь Microsoft Office</dc:creator>
  <cp:lastModifiedBy>Редькина Светлана</cp:lastModifiedBy>
  <cp:revision>186</cp:revision>
  <cp:lastPrinted>2021-04-07T11:57:10Z</cp:lastPrinted>
  <dcterms:created xsi:type="dcterms:W3CDTF">2018-09-27T18:22:51Z</dcterms:created>
  <dcterms:modified xsi:type="dcterms:W3CDTF">2021-10-14T04:54:37Z</dcterms:modified>
</cp:coreProperties>
</file>